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1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32.xml" ContentType="application/vnd.openxmlformats-officedocument.presentationml.tags+xml"/>
  <Override PartName="/ppt/notesSlides/notesSlide24.xml" ContentType="application/vnd.openxmlformats-officedocument.presentationml.notesSlide+xml"/>
  <Override PartName="/ppt/tags/tag33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4.xml" ContentType="application/vnd.openxmlformats-officedocument.presentationml.tags+xml"/>
  <Override PartName="/ppt/notesSlides/notesSlide27.xml" ContentType="application/vnd.openxmlformats-officedocument.presentationml.notesSlide+xml"/>
  <Override PartName="/ppt/tags/tag35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36.xml" ContentType="application/vnd.openxmlformats-officedocument.presentationml.tags+xml"/>
  <Override PartName="/ppt/notesSlides/notesSlide30.xml" ContentType="application/vnd.openxmlformats-officedocument.presentationml.notesSlide+xml"/>
  <Override PartName="/ppt/tags/tag37.xml" ContentType="application/vnd.openxmlformats-officedocument.presentationml.tags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8"/>
  </p:notesMasterIdLst>
  <p:handoutMasterIdLst>
    <p:handoutMasterId r:id="rId49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3" r:id="rId11"/>
    <p:sldId id="2145705954" r:id="rId12"/>
    <p:sldId id="2145705967" r:id="rId13"/>
    <p:sldId id="2145705968" r:id="rId14"/>
    <p:sldId id="2145705955" r:id="rId15"/>
    <p:sldId id="2145705956" r:id="rId16"/>
    <p:sldId id="2145705972" r:id="rId17"/>
    <p:sldId id="2145705969" r:id="rId18"/>
    <p:sldId id="2145705957" r:id="rId19"/>
    <p:sldId id="2145705963" r:id="rId20"/>
    <p:sldId id="2145705964" r:id="rId21"/>
    <p:sldId id="2145705958" r:id="rId22"/>
    <p:sldId id="2145705973" r:id="rId23"/>
    <p:sldId id="2145705959" r:id="rId24"/>
    <p:sldId id="2145705960" r:id="rId25"/>
    <p:sldId id="2145705975" r:id="rId26"/>
    <p:sldId id="2145705974" r:id="rId27"/>
    <p:sldId id="2145705961" r:id="rId28"/>
    <p:sldId id="2145705978" r:id="rId29"/>
    <p:sldId id="2145705962" r:id="rId30"/>
    <p:sldId id="2145705970" r:id="rId31"/>
    <p:sldId id="2145705977" r:id="rId32"/>
    <p:sldId id="2145705965" r:id="rId33"/>
    <p:sldId id="2145705971" r:id="rId34"/>
    <p:sldId id="2145705976" r:id="rId35"/>
    <p:sldId id="2145705966" r:id="rId36"/>
    <p:sldId id="2145705952" r:id="rId37"/>
    <p:sldId id="2145705823" r:id="rId38"/>
    <p:sldId id="2145705933" r:id="rId39"/>
    <p:sldId id="2145705739" r:id="rId40"/>
    <p:sldId id="2145705913" r:id="rId41"/>
    <p:sldId id="2145705949" r:id="rId42"/>
    <p:sldId id="2145705749" r:id="rId43"/>
    <p:sldId id="2145705911" r:id="rId44"/>
    <p:sldId id="2145705934" r:id="rId45"/>
    <p:sldId id="2145705791" r:id="rId46"/>
    <p:sldId id="2145705742" r:id="rId47"/>
  </p:sldIdLst>
  <p:sldSz cx="12192000" cy="6858000"/>
  <p:notesSz cx="6858000" cy="9144000"/>
  <p:custDataLst>
    <p:tags r:id="rId5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3"/>
            <p14:sldId id="2145705954"/>
            <p14:sldId id="2145705967"/>
            <p14:sldId id="2145705968"/>
            <p14:sldId id="2145705955"/>
            <p14:sldId id="2145705956"/>
            <p14:sldId id="2145705972"/>
            <p14:sldId id="2145705969"/>
            <p14:sldId id="2145705957"/>
            <p14:sldId id="2145705963"/>
            <p14:sldId id="2145705964"/>
            <p14:sldId id="2145705958"/>
            <p14:sldId id="2145705973"/>
            <p14:sldId id="2145705959"/>
            <p14:sldId id="2145705960"/>
            <p14:sldId id="2145705975"/>
            <p14:sldId id="2145705974"/>
            <p14:sldId id="2145705961"/>
            <p14:sldId id="2145705978"/>
            <p14:sldId id="2145705962"/>
            <p14:sldId id="2145705970"/>
            <p14:sldId id="2145705977"/>
            <p14:sldId id="2145705965"/>
            <p14:sldId id="2145705971"/>
            <p14:sldId id="2145705976"/>
            <p14:sldId id="2145705966"/>
            <p14:sldId id="2145705952"/>
            <p14:sldId id="2145705823"/>
          </p14:sldIdLst>
        </p14:section>
        <p14:section name="How-to guides" id="{940A1398-85E1-49ED-8D6E-5B86E8378269}">
          <p14:sldIdLst>
            <p14:sldId id="2145705933"/>
            <p14:sldId id="2145705739"/>
            <p14:sldId id="2145705913"/>
            <p14:sldId id="2145705949"/>
            <p14:sldId id="2145705749"/>
            <p14:sldId id="2145705911"/>
          </p14:sldIdLst>
        </p14:section>
        <p14:section name="Style guide" id="{469652BB-A032-4484-908B-5AD5FE899E09}">
          <p14:sldIdLst>
            <p14:sldId id="2145705934"/>
            <p14:sldId id="2145705791"/>
            <p14:sldId id="21457057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49020" autoAdjust="0"/>
  </p:normalViewPr>
  <p:slideViewPr>
    <p:cSldViewPr snapToGrid="0" snapToObjects="1" showGuides="1">
      <p:cViewPr varScale="1">
        <p:scale>
          <a:sx n="40" d="100"/>
          <a:sy n="40" d="100"/>
        </p:scale>
        <p:origin x="2318" y="38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-1536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1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1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Type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tle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ypeDescri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derImag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yp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 = @ListType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all workspace by account 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Accoun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spac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c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space 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countWorkspac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b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b.Workspac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b.Accoun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Accoun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771760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template from Microsof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Provider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emplat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HeaderImag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emplat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empla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Provi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p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p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emplateProvid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p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Provider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cache for list templat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p.usecount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            -- Number of times the execution plan has been reuse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p.cacheobj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         -- Type of cached object (e.g., Compiled Plan, Execution Context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p.obj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              -- Type of statement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dhoc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epared, Proc, etc.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.tex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eryTex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-- The actual SQL query tex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.dm_exec_cached_plan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cp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SS APPL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.dm_exec_sql_tex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p.plan_hand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.tex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KE '%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empla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%'  -- Filter queries related to th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empla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abl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p.usecount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;          -- Sort by reuse count in descending ord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5156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4: when user choose templat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find list template by 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Template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Sumar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Featur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empla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Template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001461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4: get all data of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TemplateId INT = 1;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cols NVARCHAR(MAX)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@sql NVARCHAR(MAX)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Get dynamic column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@cols = STRING_AGG(QUOTENAME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, ','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ListTemplat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TemplateId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Build dynamic SQL with PIVO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@sql = 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(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Sample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cv.CellValu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Sample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r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CROSS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SampleCell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cv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cv.TemplateSample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r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cv.Template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r.ListTemplat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 + CAST(@ListTemplateId AS NVARCHAR) + 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ListTemplat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 + CAST(@ListTemplateId AS NVARCHAR) + 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rceTabl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VOT (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MAX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ll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O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(' + @cols + '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S PivotTabl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Sample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Execute dynamic SQ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EC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_executesq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@sql;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850545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Template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alte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Column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ListTemplat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DisplayOrder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4: show all view in list templat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Template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v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alteVie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v.View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Vie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v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w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v.View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v.ListTemplat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v.DisplayOrder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940636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5: list (after user create list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show info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Accoun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S NOT NULL THEN 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0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FavoriteLis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Workspac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voriteL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Favor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Accoun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list column is visibl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ataTypeValu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dc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sVisib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DisplayOrder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show list data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cols NVARCHAR(MAX)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@sql NVARCHAR(MAX)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get dynamic colum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@cols = STRING_AGG(QUOTENAME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, ','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Id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build dynamic SQL with PIVO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 @sql = 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(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CellValu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CROSS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ell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List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ListDynamic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 + CAST(@ListId AS NVARCHAR) + 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 + CAST(@ListId AS NVARCHAR) + 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rceTabl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VOT (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MAX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ll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O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(' + @cols + '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S PivotTabl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execute dynamic SQ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EC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_executesq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@sql;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4: show list vie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Vie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View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Vie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v</a:t>
            </a: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v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04280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7: List row detai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show row detai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CellValu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ell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List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ListDynamic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Row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row file attachmen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Attachmen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NameFi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FileUrl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Attachm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List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Row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show all comments by ro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men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ont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dA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Comm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ListRow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d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Row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d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44469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8: Custom colum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find all column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CoverImag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Typ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when user choose column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ystemDataType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ataType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TypeSettingKe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Key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SystemDataType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when user choose edit column (column value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Column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Descri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ataTypeValu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Column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4: when user choose edit column (column setting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Column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TypeSettingKey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sv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tingValu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TypeSettingKe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SystemData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Key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olumnSetting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sv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sv.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sv.DataTypeSettingKey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Column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854652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9: create view for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create view with calendar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ViewTypeId INT = 2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w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Typ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s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s.ValueTyp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wType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w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s.View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w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s.View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ViewType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ref column have type DATE for Calendar Vie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99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dc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ataType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DATE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ref title &amp; subheading column for Calendar Vie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dc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22184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10: share link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show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r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st nam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 = @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all sco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o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ope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op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opeDescri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opeCod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o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show all permissio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Descri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Cod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4: show option if user choose scope 'PUBLIC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copeCode NVARCHAR(50) = 'PUBLIC'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o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LinkO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lo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cop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lo.Sco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Cod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ScopeCod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5: show option if user choose scope 'SPECIFIC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copeCode NVARCHAR(50) = 'SPECIFIC'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o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LinkO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lo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cop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lo.Sco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Cod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ScopeCod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11: manage access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count people have permissio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4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UNT(*) AS Peopl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MemberPermiss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mp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ermission p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.HighestPermission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.Accoun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info all user have permission in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coun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Emai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MemberPermiss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mp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ermission p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.HighestPermission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.Accoun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53902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12: trash items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defaul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Item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MAT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'M/d/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yy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:m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)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Delete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Pat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iginalLoca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creator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Create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d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ort A-Z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Item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MAT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'M/d/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yy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:m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)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Delete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Pat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iginalLoca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creator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Create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d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221143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82D78F-0791-EFF5-5D60-17E3FDACC6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CC7A38-2867-DCAE-DE8F-53F65C487F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026F53-77D5-C3F4-4A2B-C97ACE7A12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D55321-A2E3-478A-9E20-770FAF31A2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80495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443027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5189515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1847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511018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80109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2241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979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54051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6349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1: dashboard &amp; accoun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favorites list from us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Accoun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voriteL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Lis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Workspac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Accoun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fi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ent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Accoun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AccessedA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countL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.Accoun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Workspac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Accoun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Accessed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find all list from us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Accoun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countL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.Accoun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Workspac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Accoun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reated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5: search list (apply paging for query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Query NVARCHAR(100) = 't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PageSize INT = 24;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PageNumber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Workspac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KE '%' + @Query + '%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FSET (@PageNumber - 1) * @PageSize ROWS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TCH NEXT @PageSize ROWS ONLY;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75463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4: find Account by 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AccountId INT = 1;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ll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Emai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Compan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count a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Accoun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55741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2: create list screen (when user choose create new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show list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ListTyp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0360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51.png"/><Relationship Id="rId5" Type="http://schemas.openxmlformats.org/officeDocument/2006/relationships/image" Target="../media/image50.emf"/><Relationship Id="rId4" Type="http://schemas.openxmlformats.org/officeDocument/2006/relationships/oleObject" Target="../embeddings/oleObject29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5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3" Type="http://schemas.openxmlformats.org/officeDocument/2006/relationships/notesSlide" Target="../notesSlides/notesSlide27.xml"/><Relationship Id="rId7" Type="http://schemas.openxmlformats.org/officeDocument/2006/relationships/hyperlink" Target="file:///C:\Users\Public\bbv_templates\Marketing\PPT-Bibliotheken\Bilder-Bibliothek" TargetMode="External"/><Relationship Id="rId12" Type="http://schemas.openxmlformats.org/officeDocument/2006/relationships/image" Target="../media/image66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6" Type="http://schemas.openxmlformats.org/officeDocument/2006/relationships/image" Target="../media/image13.jpg"/><Relationship Id="rId11" Type="http://schemas.openxmlformats.org/officeDocument/2006/relationships/image" Target="../media/image65.png"/><Relationship Id="rId5" Type="http://schemas.openxmlformats.org/officeDocument/2006/relationships/image" Target="../media/image61.emf"/><Relationship Id="rId15" Type="http://schemas.openxmlformats.org/officeDocument/2006/relationships/image" Target="../media/image69.png"/><Relationship Id="rId10" Type="http://schemas.openxmlformats.org/officeDocument/2006/relationships/image" Target="../media/image64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63.svg"/><Relationship Id="rId14" Type="http://schemas.openxmlformats.org/officeDocument/2006/relationships/image" Target="../media/image68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71.png"/><Relationship Id="rId12" Type="http://schemas.openxmlformats.org/officeDocument/2006/relationships/image" Target="../media/image7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6" Type="http://schemas.openxmlformats.org/officeDocument/2006/relationships/image" Target="../media/image13.jpg"/><Relationship Id="rId11" Type="http://schemas.openxmlformats.org/officeDocument/2006/relationships/image" Target="../media/image75.png"/><Relationship Id="rId5" Type="http://schemas.openxmlformats.org/officeDocument/2006/relationships/image" Target="../media/image70.emf"/><Relationship Id="rId10" Type="http://schemas.openxmlformats.org/officeDocument/2006/relationships/image" Target="../media/image74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73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emf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image" Target="../media/image52.png"/><Relationship Id="rId5" Type="http://schemas.openxmlformats.org/officeDocument/2006/relationships/image" Target="../media/image77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8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image" Target="../media/image82.png"/><Relationship Id="rId5" Type="http://schemas.openxmlformats.org/officeDocument/2006/relationships/image" Target="../media/image81.emf"/><Relationship Id="rId4" Type="http://schemas.openxmlformats.org/officeDocument/2006/relationships/oleObject" Target="../embeddings/oleObject3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91E2D9-C238-1F65-BC1A-A1F88BFC0C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3F964B-93BD-3117-3366-8F8110226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Entities</a:t>
            </a:r>
          </a:p>
        </p:txBody>
      </p:sp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E4C90BDA-73C6-31A4-FA6A-E55A7989D7E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98"/>
          <a:stretch>
            <a:fillRect/>
          </a:stretch>
        </p:blipFill>
        <p:spPr>
          <a:xfrm>
            <a:off x="0" y="1098000"/>
            <a:ext cx="12192000" cy="5568614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79698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DD4447-03E0-13E7-5333-8B87C898FA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6D6F5F-F492-45CB-B1FF-FFC0F6CCD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Dashboard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3467B651-F5A5-8B14-0235-CA2BD0B2AC7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2973" r="4895" b="619"/>
          <a:stretch>
            <a:fillRect/>
          </a:stretch>
        </p:blipFill>
        <p:spPr>
          <a:xfrm>
            <a:off x="0" y="1098000"/>
            <a:ext cx="12192000" cy="512204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261686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1D07E-C183-292D-05B7-8D83AEB87C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D6C370-1AFB-D046-2BC6-7BF814ED4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ype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A299A40-6DA0-7E32-A809-0DD135D836E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06155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3B3C55-0CE6-D2B5-907E-960B674D3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5635A6D-178B-13BC-78CB-E7D8E26C9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ype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F0D67D7-9E45-3F9C-A40F-4347461A8D9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" t="12402" r="721" b="4869"/>
          <a:stretch>
            <a:fillRect/>
          </a:stretch>
        </p:blipFill>
        <p:spPr>
          <a:xfrm>
            <a:off x="1212112" y="1098000"/>
            <a:ext cx="9720000" cy="5760000"/>
          </a:xfrm>
        </p:spPr>
      </p:pic>
    </p:spTree>
    <p:extLst>
      <p:ext uri="{BB962C8B-B14F-4D97-AF65-F5344CB8AC3E}">
        <p14:creationId xmlns:p14="http://schemas.microsoft.com/office/powerpoint/2010/main" val="545499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DA70D-5F79-CA8A-1AB8-BB09B501E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A2D629-9704-D5E8-91A7-683047B8F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List Entities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52DEBFA0-50D5-999A-F70F-1A786ED58DE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1" t="1" b="-236"/>
          <a:stretch>
            <a:fillRect/>
          </a:stretch>
        </p:blipFill>
        <p:spPr>
          <a:xfrm>
            <a:off x="535172" y="1098000"/>
            <a:ext cx="11121656" cy="576000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178984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22B8E-59FD-D54F-52E3-6F94CA053C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CF272-7A86-A911-04E9-33210242D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Create List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D87B6B4-2804-C3ED-3D99-B78E8E5708B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-1" r="-1" b="78"/>
          <a:stretch>
            <a:fillRect/>
          </a:stretch>
        </p:blipFill>
        <p:spPr>
          <a:xfrm>
            <a:off x="0" y="1098000"/>
            <a:ext cx="12192000" cy="3994995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770633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70DA23-587D-2E07-4F63-E95F9F66E5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395864-190C-6B02-8C2B-D02C17F6A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mplate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5E05621-D1DE-934E-9F3A-DF624DB596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37" b="35389"/>
          <a:stretch>
            <a:fillRect/>
          </a:stretch>
        </p:blipFill>
        <p:spPr>
          <a:xfrm>
            <a:off x="0" y="1098000"/>
            <a:ext cx="12192000" cy="4824335"/>
          </a:xfrm>
        </p:spPr>
      </p:pic>
    </p:spTree>
    <p:extLst>
      <p:ext uri="{BB962C8B-B14F-4D97-AF65-F5344CB8AC3E}">
        <p14:creationId xmlns:p14="http://schemas.microsoft.com/office/powerpoint/2010/main" val="1060585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0C950C-8D13-9A05-01F4-2065898C68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27549B7-1BE9-C944-69D3-38C53171C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mplate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DC21611-AE6C-0C7D-C40A-BB748CDE0CC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71" b="41766"/>
          <a:stretch>
            <a:fillRect/>
          </a:stretch>
        </p:blipFill>
        <p:spPr>
          <a:xfrm>
            <a:off x="0" y="1098000"/>
            <a:ext cx="12192000" cy="4632949"/>
          </a:xfrm>
        </p:spPr>
      </p:pic>
    </p:spTree>
    <p:extLst>
      <p:ext uri="{BB962C8B-B14F-4D97-AF65-F5344CB8AC3E}">
        <p14:creationId xmlns:p14="http://schemas.microsoft.com/office/powerpoint/2010/main" val="2536842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289F82-6D1D-55D8-48F4-F085B9048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6C8A63-872E-5E6A-C75D-A50E7D256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mplate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6788106-EB28-BDC2-2B54-217AEA9322A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" t="10"/>
          <a:stretch>
            <a:fillRect/>
          </a:stretch>
        </p:blipFill>
        <p:spPr>
          <a:xfrm>
            <a:off x="2040000" y="1098000"/>
            <a:ext cx="8111999" cy="5760000"/>
          </a:xfrm>
        </p:spPr>
      </p:pic>
    </p:spTree>
    <p:extLst>
      <p:ext uri="{BB962C8B-B14F-4D97-AF65-F5344CB8AC3E}">
        <p14:creationId xmlns:p14="http://schemas.microsoft.com/office/powerpoint/2010/main" val="115415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A0804-23F2-E67D-9668-E2223BE9BB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182EA6-762E-B94A-03C6-4FD6F675E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By Template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BC27FDC-0241-0F73-0710-86CFA3B103C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66" b="28874"/>
          <a:stretch>
            <a:fillRect/>
          </a:stretch>
        </p:blipFill>
        <p:spPr>
          <a:xfrm>
            <a:off x="0" y="1098000"/>
            <a:ext cx="12192000" cy="5281535"/>
          </a:xfrm>
        </p:spPr>
      </p:pic>
    </p:spTree>
    <p:extLst>
      <p:ext uri="{BB962C8B-B14F-4D97-AF65-F5344CB8AC3E}">
        <p14:creationId xmlns:p14="http://schemas.microsoft.com/office/powerpoint/2010/main" val="343298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en-US" dirty="0"/>
              <a:t>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EACE73-8D29-1A8F-5F6D-8EC732AF87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58DEBF5-A93B-007F-05F1-0CEA90ACC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mplate Entitie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5416565-5C12-5737-36CD-1A0ABA9749B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476"/>
          <a:stretch>
            <a:fillRect/>
          </a:stretch>
        </p:blipFill>
        <p:spPr>
          <a:xfrm>
            <a:off x="0" y="1098000"/>
            <a:ext cx="12192000" cy="5036986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82137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B0C949-DCDF-8590-B4FF-25341F883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DC5258-485F-8155-3548-8F960CF3F8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6F4CF5B-F3B7-EE03-6218-7B5269ED702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6126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CD9BB-7E63-9C49-475E-0584731D6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C713F0-FAF6-0683-B209-784E1BFE4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Row Detail</a:t>
            </a:r>
          </a:p>
        </p:txBody>
      </p:sp>
      <p:pic>
        <p:nvPicPr>
          <p:cNvPr id="9" name="Picture Placeholder 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08D4C72-040B-A761-7F74-745BABFAD65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30195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DFCD6E-9898-A7FD-68E9-3678F9BAB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CB7080-E611-9B79-003C-218B94FC6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Entitie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25550C6-1E70-0505-F63E-888C539667C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-366"/>
          <a:stretch>
            <a:fillRect/>
          </a:stretch>
        </p:blipFill>
        <p:spPr>
          <a:xfrm>
            <a:off x="0" y="1098000"/>
            <a:ext cx="12192000" cy="5377228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331423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DC1DED-40F8-DD4D-3424-D439BD6E69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137358-9C8E-FA95-B6C5-FFB7F0EC2C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List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71DD22D3-1423-363F-1623-14827D6D6DB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709"/>
          <a:stretch>
            <a:fillRect/>
          </a:stretch>
        </p:blipFill>
        <p:spPr>
          <a:xfrm>
            <a:off x="0" y="1098000"/>
            <a:ext cx="12192000" cy="4899388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356913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488558-EDC5-43A3-7192-071E6A30D5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9335DE-D91D-6A77-9727-6045DB1D2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Dynamic Colum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CF285C8-6A81-087B-B2DC-C151FF5C802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" r="262" b="184"/>
          <a:stretch>
            <a:fillRect/>
          </a:stretch>
        </p:blipFill>
        <p:spPr>
          <a:xfrm>
            <a:off x="2039357" y="1098000"/>
            <a:ext cx="8112642" cy="5760000"/>
          </a:xfrm>
        </p:spPr>
      </p:pic>
    </p:spTree>
    <p:extLst>
      <p:ext uri="{BB962C8B-B14F-4D97-AF65-F5344CB8AC3E}">
        <p14:creationId xmlns:p14="http://schemas.microsoft.com/office/powerpoint/2010/main" val="375677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954690-4365-F53E-6C89-94A61EBF3B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779BFCE-A62C-9C83-1C20-5A860104D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Dynamic Column Entitie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4A0C985-19AC-2D84-711B-A08331410F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993"/>
          <a:stretch>
            <a:fillRect/>
          </a:stretch>
        </p:blipFill>
        <p:spPr>
          <a:xfrm>
            <a:off x="0" y="1098000"/>
            <a:ext cx="12192000" cy="4494726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311493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737A70-3896-3A06-6ADD-E034477C9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DDCF86-0F5F-07A9-09DF-F8F055437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ew Type Setting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027168D-FC55-CC43-28AC-1E22283AD3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"/>
          <a:stretch>
            <a:fillRect/>
          </a:stretch>
        </p:blipFill>
        <p:spPr>
          <a:xfrm>
            <a:off x="2040001" y="1098000"/>
            <a:ext cx="8102009" cy="5760000"/>
          </a:xfrm>
        </p:spPr>
      </p:pic>
    </p:spTree>
    <p:extLst>
      <p:ext uri="{BB962C8B-B14F-4D97-AF65-F5344CB8AC3E}">
        <p14:creationId xmlns:p14="http://schemas.microsoft.com/office/powerpoint/2010/main" val="225175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CD52BD-60AD-4A58-9C4F-CC729ECD4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D93BA8-1ED9-E2BF-1F3C-F47686894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View Entities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2CC2E961-201D-D73D-814E-A6992266B22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-1" b="372"/>
          <a:stretch>
            <a:fillRect/>
          </a:stretch>
        </p:blipFill>
        <p:spPr>
          <a:xfrm>
            <a:off x="0" y="1098000"/>
            <a:ext cx="12192000" cy="4367135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394650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9AB13-6C14-C12B-5744-8D39CDCB6C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F56A7F-6C46-3B63-C209-D8E04F252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List View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7854DFEF-8B9F-73B4-A802-0FBA6A1E4AE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519"/>
          <a:stretch>
            <a:fillRect/>
          </a:stretch>
        </p:blipFill>
        <p:spPr>
          <a:xfrm>
            <a:off x="0" y="1098000"/>
            <a:ext cx="12192000" cy="474990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2963199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US" noProof="0" dirty="0"/>
              <a:t>2025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/>
              <a:t>Presentation</a:t>
            </a:r>
            <a:r>
              <a:rPr lang="en-US" noProof="0" dirty="0"/>
              <a:t> on</a:t>
            </a:r>
            <a:r>
              <a:rPr lang="en-CH" noProof="0" dirty="0"/>
              <a:t> </a:t>
            </a:r>
            <a:r>
              <a:rPr lang="en-US" noProof="0" dirty="0"/>
              <a:t>Microsoft Lists 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2B4F7A-C583-B434-CA36-13506FB3D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B4B54F-367A-F1B4-DFD0-83A486DC6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 Link</a:t>
            </a:r>
          </a:p>
        </p:txBody>
      </p:sp>
      <p:pic>
        <p:nvPicPr>
          <p:cNvPr id="5" name="Picture Placeholder 4" descr="Screens screenshot of a computer&#10;&#10;AI-generated content may be incorrect.">
            <a:extLst>
              <a:ext uri="{FF2B5EF4-FFF2-40B4-BE49-F238E27FC236}">
                <a16:creationId xmlns:a16="http://schemas.microsoft.com/office/drawing/2014/main" id="{8BA99585-994E-17BE-7FF0-316E20EDB6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" r="263" b="-341"/>
          <a:stretch>
            <a:fillRect/>
          </a:stretch>
        </p:blipFill>
        <p:spPr>
          <a:xfrm>
            <a:off x="2060944" y="1098000"/>
            <a:ext cx="8070112" cy="5760000"/>
          </a:xfrm>
        </p:spPr>
      </p:pic>
    </p:spTree>
    <p:extLst>
      <p:ext uri="{BB962C8B-B14F-4D97-AF65-F5344CB8AC3E}">
        <p14:creationId xmlns:p14="http://schemas.microsoft.com/office/powerpoint/2010/main" val="195429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1BC0D1-981A-BCC2-2070-91C9F699CF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E8C8D9-5EF2-2A31-D084-766718511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Access Entities</a:t>
            </a: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AFF27E1E-4F45-6D30-37A8-F26917D42B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-1" r="-1" b="994"/>
          <a:stretch>
            <a:fillRect/>
          </a:stretch>
        </p:blipFill>
        <p:spPr>
          <a:xfrm>
            <a:off x="0" y="1098000"/>
            <a:ext cx="12192000" cy="5047619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173084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06E64-7558-012F-0AC2-811EADC78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F32C48-85BE-8EBC-6766-DD3A0CC98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Manage Access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D6743239-BE73-E8C9-2ECA-0E3C023DF02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-1" b="-115"/>
          <a:stretch>
            <a:fillRect/>
          </a:stretch>
        </p:blipFill>
        <p:spPr>
          <a:xfrm>
            <a:off x="0" y="1098000"/>
            <a:ext cx="12192000" cy="5281535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157342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F5CCA-2ABE-661A-3D2F-4C3076A04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6286BC-1FFB-04A8-900F-B8C51C075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sh Item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415E370-75EB-35A6-56B2-EDAE74451B5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11647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418485-D5BE-2F45-2A95-1AFDA61C2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750CE6-4DA4-6B63-026E-65DE5B7AA7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77933FE6-D517-2507-6CC3-B31C59A6D61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36910A7-EE28-1F3C-A2D1-54C1EE15DB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384974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</a:rPr>
              <a:t>How-to guides</a:t>
            </a:r>
          </a:p>
        </p:txBody>
      </p:sp>
    </p:spTree>
    <p:extLst>
      <p:ext uri="{BB962C8B-B14F-4D97-AF65-F5344CB8AC3E}">
        <p14:creationId xmlns:p14="http://schemas.microsoft.com/office/powerpoint/2010/main" val="276958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41D12F-B135-4159-C169-DE452BDD33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805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41D12F-B135-4159-C169-DE452BDD33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oup 37">
            <a:extLst>
              <a:ext uri="{FF2B5EF4-FFF2-40B4-BE49-F238E27FC236}">
                <a16:creationId xmlns:a16="http://schemas.microsoft.com/office/drawing/2014/main" id="{E140A25A-DF6B-4204-A597-8B53E195249D}"/>
              </a:ext>
            </a:extLst>
          </p:cNvPr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60" name="Rechteck 11">
              <a:extLst>
                <a:ext uri="{FF2B5EF4-FFF2-40B4-BE49-F238E27FC236}">
                  <a16:creationId xmlns:a16="http://schemas.microsoft.com/office/drawing/2014/main" id="{66BFFB58-8FD5-7D03-C728-2693A7416F77}"/>
                </a:ext>
              </a:extLst>
            </p:cNvPr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6D78C778-0E33-31FE-6EFA-63365FFCE0B0}"/>
                </a:ext>
              </a:extLst>
            </p:cNvPr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305709E5-1E8C-E8CE-BA52-63EA88683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</p:spPr>
        </p:pic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FD0790F1-7C15-85DF-E10C-820E24E9A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bbv Master layouts &amp; slide library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07A0ADF-C71F-7A34-664B-C9837DE80F58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4000" tIns="144000" rIns="96000" bIns="192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7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914377">
              <a:spcAft>
                <a:spcPts val="1600"/>
              </a:spcAft>
            </a:pPr>
            <a:r>
              <a:rPr lang="en-GB" sz="2100" b="1" kern="1200" spc="40">
                <a:solidFill>
                  <a:schemeClr val="bg1"/>
                </a:solidFill>
                <a:cs typeface="Arial" panose="020B0604020202020204" pitchFamily="34" charset="0"/>
              </a:rPr>
              <a:t>Insert new slide</a:t>
            </a:r>
          </a:p>
        </p:txBody>
      </p:sp>
      <p:sp>
        <p:nvSpPr>
          <p:cNvPr id="4" name="Rechteck 13">
            <a:extLst>
              <a:ext uri="{FF2B5EF4-FFF2-40B4-BE49-F238E27FC236}">
                <a16:creationId xmlns:a16="http://schemas.microsoft.com/office/drawing/2014/main" id="{3B89209E-4589-13C1-1A01-2A27C42F2E8B}"/>
              </a:ext>
            </a:extLst>
          </p:cNvPr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Click on «New Slide»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7FA896A9-75E3-CF28-5EFA-F860576C746A}"/>
              </a:ext>
            </a:extLst>
          </p:cNvPr>
          <p:cNvSpPr txBox="1">
            <a:spLocks noChangeAspect="1"/>
          </p:cNvSpPr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7" name="Rechteck 13">
            <a:extLst>
              <a:ext uri="{FF2B5EF4-FFF2-40B4-BE49-F238E27FC236}">
                <a16:creationId xmlns:a16="http://schemas.microsoft.com/office/drawing/2014/main" id="{EBC95599-CBA1-4453-B6BD-FE23F06D949A}"/>
              </a:ext>
            </a:extLst>
          </p:cNvPr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Select layout</a:t>
            </a:r>
          </a:p>
          <a:p>
            <a:pPr algn="ctr" defTabSz="914354">
              <a:lnSpc>
                <a:spcPct val="120000"/>
              </a:lnSpc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hoose the desired layout from the pre-programmed master layouts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72304DA0-924A-DB02-67DE-E6FB6B6A18B7}"/>
              </a:ext>
            </a:extLst>
          </p:cNvPr>
          <p:cNvSpPr txBox="1">
            <a:spLocks noChangeAspect="1"/>
          </p:cNvSpPr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0" name="Rechteck 13">
            <a:extLst>
              <a:ext uri="{FF2B5EF4-FFF2-40B4-BE49-F238E27FC236}">
                <a16:creationId xmlns:a16="http://schemas.microsoft.com/office/drawing/2014/main" id="{FF2255DC-5F79-8DC2-B761-1D7099A50917}"/>
              </a:ext>
            </a:extLst>
          </p:cNvPr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Or select layout from slide library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A612A30E-E4D4-7DA6-B1CD-62C76EA1BBDE}"/>
              </a:ext>
            </a:extLst>
          </p:cNvPr>
          <p:cNvSpPr txBox="1">
            <a:spLocks noChangeAspect="1"/>
          </p:cNvSpPr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  <a:sym typeface="Wingdings" pitchFamily="2" charset="2"/>
              </a:rPr>
              <a:t></a:t>
            </a:r>
            <a:endParaRPr lang="en-GB" sz="1800">
              <a:solidFill>
                <a:prstClr val="white"/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23" name="Gerade Verbindung mit Pfeil 94">
            <a:extLst>
              <a:ext uri="{FF2B5EF4-FFF2-40B4-BE49-F238E27FC236}">
                <a16:creationId xmlns:a16="http://schemas.microsoft.com/office/drawing/2014/main" id="{600C8158-7970-68D0-E564-9286CE57AF73}"/>
              </a:ext>
            </a:extLst>
          </p:cNvPr>
          <p:cNvCxnSpPr>
            <a:cxnSpLocks/>
          </p:cNvCxnSpPr>
          <p:nvPr/>
        </p:nvCxnSpPr>
        <p:spPr bwMode="auto">
          <a:xfrm flipH="1">
            <a:off x="3025123" y="4015522"/>
            <a:ext cx="828000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94">
            <a:extLst>
              <a:ext uri="{FF2B5EF4-FFF2-40B4-BE49-F238E27FC236}">
                <a16:creationId xmlns:a16="http://schemas.microsoft.com/office/drawing/2014/main" id="{399D6B8C-70D2-0771-4A64-11C150251EB3}"/>
              </a:ext>
            </a:extLst>
          </p:cNvPr>
          <p:cNvCxnSpPr>
            <a:cxnSpLocks/>
          </p:cNvCxnSpPr>
          <p:nvPr/>
        </p:nvCxnSpPr>
        <p:spPr bwMode="auto">
          <a:xfrm flipV="1">
            <a:off x="3025123" y="3612089"/>
            <a:ext cx="0" cy="806866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4A6FAE0-CE55-558F-3770-DADDC918E9DC}"/>
              </a:ext>
            </a:extLst>
          </p:cNvPr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3" name="Rechteck 11">
              <a:extLst>
                <a:ext uri="{FF2B5EF4-FFF2-40B4-BE49-F238E27FC236}">
                  <a16:creationId xmlns:a16="http://schemas.microsoft.com/office/drawing/2014/main" id="{25C695CD-F4D3-B5D6-CC21-4947CEDC371D}"/>
                </a:ext>
              </a:extLst>
            </p:cNvPr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D01EDA7-3A65-7418-833F-DDAC448B0812}"/>
                </a:ext>
              </a:extLst>
            </p:cNvPr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0433C84E-3670-660D-0B6D-67F1811E6F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</p:spPr>
          </p:pic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14145823-376A-9FB6-2137-BC07CEAFD637}"/>
                  </a:ext>
                </a:extLst>
              </p:cNvPr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793"/>
                </a:srgbClr>
              </a:solidFill>
              <a:ln w="28575">
                <a:solidFill>
                  <a:srgbClr val="F398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" name="Textplatzhalter 2">
                <a:extLst>
                  <a:ext uri="{FF2B5EF4-FFF2-40B4-BE49-F238E27FC236}">
                    <a16:creationId xmlns:a16="http://schemas.microsoft.com/office/drawing/2014/main" id="{5064DA42-DF09-BBE6-6A77-D2D92C100BA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txBody>
              <a:bodyPr vert="horz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indent="0" algn="ctr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FontTx/>
                  <a:buNone/>
                  <a:defRPr sz="2000" b="1">
                    <a:solidFill>
                      <a:schemeClr val="bg1"/>
                    </a:solidFill>
                    <a:latin typeface="+mj-lt"/>
                  </a:defRPr>
                </a:lvl1pPr>
                <a:lvl2pPr marL="0" indent="0">
                  <a:lnSpc>
                    <a:spcPct val="90000"/>
                  </a:lnSpc>
                  <a:spcBef>
                    <a:spcPts val="900"/>
                  </a:spcBef>
                  <a:buFontTx/>
                  <a:buNone/>
                  <a:defRPr sz="2000">
                    <a:solidFill>
                      <a:schemeClr val="tx2"/>
                    </a:solidFill>
                  </a:defRPr>
                </a:lvl2pPr>
                <a:lvl3pPr marL="216000" indent="-216000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3pPr>
                <a:lvl4pPr marL="396000" indent="-18000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4pPr>
                <a:lvl5pPr marL="576000" indent="-144000">
                  <a:lnSpc>
                    <a:spcPct val="90000"/>
                  </a:lnSpc>
                  <a:spcBef>
                    <a:spcPts val="1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5pPr>
                <a:lvl6pPr marL="0" indent="0">
                  <a:lnSpc>
                    <a:spcPct val="90000"/>
                  </a:lnSpc>
                  <a:spcBef>
                    <a:spcPts val="600"/>
                  </a:spcBef>
                  <a:buFontTx/>
                  <a:buNone/>
                  <a:defRPr sz="1400" b="1">
                    <a:solidFill>
                      <a:schemeClr val="tx2"/>
                    </a:solidFill>
                  </a:defRPr>
                </a:lvl6pPr>
                <a:lvl7pPr marL="0" indent="0">
                  <a:lnSpc>
                    <a:spcPct val="90000"/>
                  </a:lnSpc>
                  <a:spcBef>
                    <a:spcPts val="300"/>
                  </a:spcBef>
                  <a:buFontTx/>
                  <a:buNone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7pPr>
                <a:lvl8pPr marL="180000" indent="-180000">
                  <a:lnSpc>
                    <a:spcPct val="90000"/>
                  </a:lnSpc>
                  <a:spcBef>
                    <a:spcPts val="2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8pPr>
                <a:lvl9pPr marL="360000" indent="-180000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9pPr>
              </a:lstStyle>
              <a:p>
                <a:pPr defTabSz="1219170">
                  <a:spcBef>
                    <a:spcPts val="1600"/>
                  </a:spcBef>
                  <a:defRPr/>
                </a:pPr>
                <a:r>
                  <a:rPr lang="en-GB" sz="120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</a:rPr>
                  <a:t>1</a:t>
                </a: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1E9E50D-7719-B2AE-6C2F-6F05036464CC}"/>
              </a:ext>
            </a:extLst>
          </p:cNvPr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25" name="Rechteck 11">
              <a:extLst>
                <a:ext uri="{FF2B5EF4-FFF2-40B4-BE49-F238E27FC236}">
                  <a16:creationId xmlns:a16="http://schemas.microsoft.com/office/drawing/2014/main" id="{55704649-5C21-96CF-504B-48F20679D37B}"/>
                </a:ext>
              </a:extLst>
            </p:cNvPr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A817715-965A-F94A-2E07-67B11E6E2927}"/>
                </a:ext>
              </a:extLst>
            </p:cNvPr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22C3C041-DAE2-78DD-E7BF-C0D86E5D5A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</p:spPr>
          </p:pic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481AE7A-6640-B3C7-115A-E468ECA62952}"/>
                  </a:ext>
                </a:extLst>
              </p:cNvPr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793"/>
                </a:srgbClr>
              </a:solidFill>
              <a:ln w="28575">
                <a:solidFill>
                  <a:srgbClr val="F398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0" name="Textplatzhalter 2">
                <a:extLst>
                  <a:ext uri="{FF2B5EF4-FFF2-40B4-BE49-F238E27FC236}">
                    <a16:creationId xmlns:a16="http://schemas.microsoft.com/office/drawing/2014/main" id="{0A95A5DF-67E4-0D20-273A-BB428179FB2E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txBody>
              <a:bodyPr vert="horz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indent="0" algn="ctr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FontTx/>
                  <a:buNone/>
                  <a:defRPr sz="2000" b="1">
                    <a:solidFill>
                      <a:schemeClr val="bg1"/>
                    </a:solidFill>
                    <a:latin typeface="+mj-lt"/>
                  </a:defRPr>
                </a:lvl1pPr>
                <a:lvl2pPr marL="0" indent="0">
                  <a:lnSpc>
                    <a:spcPct val="90000"/>
                  </a:lnSpc>
                  <a:spcBef>
                    <a:spcPts val="900"/>
                  </a:spcBef>
                  <a:buFontTx/>
                  <a:buNone/>
                  <a:defRPr sz="2000">
                    <a:solidFill>
                      <a:schemeClr val="tx2"/>
                    </a:solidFill>
                  </a:defRPr>
                </a:lvl2pPr>
                <a:lvl3pPr marL="216000" indent="-216000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3pPr>
                <a:lvl4pPr marL="396000" indent="-18000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4pPr>
                <a:lvl5pPr marL="576000" indent="-144000">
                  <a:lnSpc>
                    <a:spcPct val="90000"/>
                  </a:lnSpc>
                  <a:spcBef>
                    <a:spcPts val="1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5pPr>
                <a:lvl6pPr marL="0" indent="0">
                  <a:lnSpc>
                    <a:spcPct val="90000"/>
                  </a:lnSpc>
                  <a:spcBef>
                    <a:spcPts val="600"/>
                  </a:spcBef>
                  <a:buFontTx/>
                  <a:buNone/>
                  <a:defRPr sz="1400" b="1">
                    <a:solidFill>
                      <a:schemeClr val="tx2"/>
                    </a:solidFill>
                  </a:defRPr>
                </a:lvl6pPr>
                <a:lvl7pPr marL="0" indent="0">
                  <a:lnSpc>
                    <a:spcPct val="90000"/>
                  </a:lnSpc>
                  <a:spcBef>
                    <a:spcPts val="300"/>
                  </a:spcBef>
                  <a:buFontTx/>
                  <a:buNone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7pPr>
                <a:lvl8pPr marL="180000" indent="-180000">
                  <a:lnSpc>
                    <a:spcPct val="90000"/>
                  </a:lnSpc>
                  <a:spcBef>
                    <a:spcPts val="2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8pPr>
                <a:lvl9pPr marL="360000" indent="-180000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9pPr>
              </a:lstStyle>
              <a:p>
                <a:pPr defTabSz="1219170">
                  <a:spcBef>
                    <a:spcPts val="1600"/>
                  </a:spcBef>
                  <a:defRPr/>
                </a:pPr>
                <a:r>
                  <a:rPr lang="en-GB" sz="120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</a:rPr>
                  <a:t>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9528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CFD4542-45ED-720C-8ACF-AD962074A4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3614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CFD4542-45ED-720C-8ACF-AD962074A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3">
            <a:extLst>
              <a:ext uri="{FF2B5EF4-FFF2-40B4-BE49-F238E27FC236}">
                <a16:creationId xmlns:a16="http://schemas.microsoft.com/office/drawing/2014/main" id="{6F12B9C0-DE97-B8F1-9BD1-CDC1F881498C}"/>
              </a:ext>
            </a:extLst>
          </p:cNvPr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Insert original slide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opy slide in original presentation with Ctrl+C.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In the target presentation, select the slide after which the original slide is to be inserted.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Select in the tab «Home / Paste / Use Destination Theme».</a:t>
            </a:r>
          </a:p>
        </p:txBody>
      </p:sp>
      <p:sp>
        <p:nvSpPr>
          <p:cNvPr id="57" name="Rechteck 13">
            <a:extLst>
              <a:ext uri="{FF2B5EF4-FFF2-40B4-BE49-F238E27FC236}">
                <a16:creationId xmlns:a16="http://schemas.microsoft.com/office/drawing/2014/main" id="{413AE714-D606-F5FC-7C9C-CAB2AADE0305}"/>
              </a:ext>
            </a:extLst>
          </p:cNvPr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Assign slide layout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Select the inserted slide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Select the desired layout in the tab «Home / Layout».</a:t>
            </a:r>
          </a:p>
        </p:txBody>
      </p:sp>
      <p:sp>
        <p:nvSpPr>
          <p:cNvPr id="58" name="Rechteck 13">
            <a:extLst>
              <a:ext uri="{FF2B5EF4-FFF2-40B4-BE49-F238E27FC236}">
                <a16:creationId xmlns:a16="http://schemas.microsoft.com/office/drawing/2014/main" id="{09437636-12D5-9F3F-EBAD-EFFE9239E6A3}"/>
              </a:ext>
            </a:extLst>
          </p:cNvPr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Adjust slide manually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heck all slide contents such as text blocks, images, etc. for position and size and manually adjust them to the new layout grid.</a:t>
            </a:r>
          </a:p>
        </p:txBody>
      </p:sp>
      <p:sp>
        <p:nvSpPr>
          <p:cNvPr id="59" name="Rechteck 13">
            <a:extLst>
              <a:ext uri="{FF2B5EF4-FFF2-40B4-BE49-F238E27FC236}">
                <a16:creationId xmlns:a16="http://schemas.microsoft.com/office/drawing/2014/main" id="{AA38C107-AE0F-D797-3F89-D09E50D2266F}"/>
              </a:ext>
            </a:extLst>
          </p:cNvPr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Check design</a:t>
            </a:r>
          </a:p>
          <a:p>
            <a:pPr defTabSz="914354">
              <a:lnSpc>
                <a:spcPct val="120000"/>
              </a:lnSpc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Independently check: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Font type, sizes and font colours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olours of graphic elements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Text alignment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oherence of the overall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F6977D-70CC-5A99-A04C-A6FF969B6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Transfer of existing slides into the new Master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B44F42DF-D404-5AAD-039D-CFD21374E730}"/>
              </a:ext>
            </a:extLst>
          </p:cNvPr>
          <p:cNvSpPr txBox="1">
            <a:spLocks noChangeAspect="1"/>
          </p:cNvSpPr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F392E57-185E-3B94-453A-FB974D183063}"/>
              </a:ext>
            </a:extLst>
          </p:cNvPr>
          <p:cNvSpPr txBox="1">
            <a:spLocks noChangeAspect="1"/>
          </p:cNvSpPr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477EC5-FF6C-7C83-A777-56643796CF4B}"/>
              </a:ext>
            </a:extLst>
          </p:cNvPr>
          <p:cNvSpPr txBox="1">
            <a:spLocks noChangeAspect="1"/>
          </p:cNvSpPr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62567B12-E59D-A63D-3499-E0DB4A2F9EC3}"/>
              </a:ext>
            </a:extLst>
          </p:cNvPr>
          <p:cNvSpPr txBox="1">
            <a:spLocks noChangeAspect="1"/>
          </p:cNvSpPr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BB7D4B34-98C7-094B-C2B0-C92D00376F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2400" y="4230000"/>
            <a:ext cx="1598065" cy="900000"/>
          </a:xfrm>
          <a:prstGeom prst="rect">
            <a:avLst/>
          </a:prstGeom>
          <a:effectLst>
            <a:outerShdw blurRad="127000" dist="127000" dir="2700000" algn="tl" rotWithShape="0">
              <a:prstClr val="black">
                <a:alpha val="18000"/>
              </a:prstClr>
            </a:outerShdw>
          </a:effectLst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E60B5F9D-4396-18A6-2404-1D3B8694D21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200" y="5400000"/>
            <a:ext cx="1608771" cy="900000"/>
          </a:xfrm>
          <a:prstGeom prst="rect">
            <a:avLst/>
          </a:prstGeom>
          <a:effectLst>
            <a:outerShdw blurRad="127000" dist="127000" dir="2700000" algn="tl" rotWithShape="0">
              <a:prstClr val="black">
                <a:alpha val="18000"/>
              </a:prstClr>
            </a:outerShdw>
          </a:effectLst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DAB675E2-ACA1-1243-028D-65C37B4CB32A}"/>
              </a:ext>
            </a:extLst>
          </p:cNvPr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64" name="Gerade Verbindung mit Pfeil 94">
              <a:extLst>
                <a:ext uri="{FF2B5EF4-FFF2-40B4-BE49-F238E27FC236}">
                  <a16:creationId xmlns:a16="http://schemas.microsoft.com/office/drawing/2014/main" id="{D9C64834-3692-F4E5-1C86-3CF07C10B95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199222" y="5015253"/>
              <a:ext cx="1140370" cy="0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mit Pfeil 94">
              <a:extLst>
                <a:ext uri="{FF2B5EF4-FFF2-40B4-BE49-F238E27FC236}">
                  <a16:creationId xmlns:a16="http://schemas.microsoft.com/office/drawing/2014/main" id="{6B9B53DD-B453-72D6-B93C-1BB1B797327B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99222" y="4392591"/>
              <a:ext cx="0" cy="622662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Shape 161">
            <a:extLst>
              <a:ext uri="{FF2B5EF4-FFF2-40B4-BE49-F238E27FC236}">
                <a16:creationId xmlns:a16="http://schemas.microsoft.com/office/drawing/2014/main" id="{ED119C18-4B87-185E-9384-69A9CEB4482B}"/>
              </a:ext>
            </a:extLst>
          </p:cNvPr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 w="38100">
            <a:noFill/>
            <a:prstDash val="solid"/>
          </a:ln>
          <a:effectLst/>
        </p:spPr>
        <p:txBody>
          <a:bodyPr wrap="square" lIns="144000" tIns="144000" rIns="144000" bIns="144000" anchor="ctr" anchorCtr="0">
            <a:spAutoFit/>
          </a:bodyPr>
          <a:lstStyle/>
          <a:p>
            <a:pPr algn="ctr" defTabSz="609555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en-GB" sz="1100" b="1">
                <a:ea typeface="Calibri"/>
                <a:cs typeface="Arial" panose="020B0604020202020204" pitchFamily="34" charset="0"/>
                <a:sym typeface="Arial" panose="020B0604020202020204" pitchFamily="34" charset="0"/>
              </a:rPr>
              <a:t>Important:</a:t>
            </a:r>
          </a:p>
          <a:p>
            <a:pPr defTabSz="609555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en-GB" sz="1100">
                <a:ea typeface="Calibri"/>
                <a:cs typeface="Arial" panose="020B0604020202020204" pitchFamily="34" charset="0"/>
                <a:sym typeface="Arial" panose="020B0604020202020204" pitchFamily="34" charset="0"/>
              </a:rPr>
              <a:t>When transferring existing slides, always carry out all four steps.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913DA6-BDCB-D3A3-44D9-43B66D64C9FB}"/>
              </a:ext>
            </a:extLst>
          </p:cNvPr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" name="Rechteck 11">
              <a:extLst>
                <a:ext uri="{FF2B5EF4-FFF2-40B4-BE49-F238E27FC236}">
                  <a16:creationId xmlns:a16="http://schemas.microsoft.com/office/drawing/2014/main" id="{2786B73F-B8C5-6D9A-5242-076CBC2CDC86}"/>
                </a:ext>
              </a:extLst>
            </p:cNvPr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ABA93B92-6A2E-D4FF-5C92-8D154DBDA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0A83831-119F-D496-C3A7-D6D87FC21A56}"/>
                </a:ext>
              </a:extLst>
            </p:cNvPr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E75FD5E-4E97-F443-9705-1D724BDDA8CA}"/>
                </a:ext>
              </a:extLst>
            </p:cNvPr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D25C27C-65CA-2D1C-4D05-9F62A4390A8A}"/>
              </a:ext>
            </a:extLst>
          </p:cNvPr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24" name="Rechteck 11">
              <a:extLst>
                <a:ext uri="{FF2B5EF4-FFF2-40B4-BE49-F238E27FC236}">
                  <a16:creationId xmlns:a16="http://schemas.microsoft.com/office/drawing/2014/main" id="{53732B19-7779-46D6-05DC-60D449D6CD5B}"/>
                </a:ext>
              </a:extLst>
            </p:cNvPr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DB1F94D9-2754-8E35-D7A2-EF3BEE5FBB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4695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8BFEB46-9CBE-7920-EE9D-A816C91F6324}"/>
                </a:ext>
              </a:extLst>
            </p:cNvPr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C2C9070-4AA8-A941-42F4-40B4B0DD0616}"/>
                </a:ext>
              </a:extLst>
            </p:cNvPr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17A6D1A-1C77-31FE-616D-A7F91DAD90A5}"/>
                </a:ext>
              </a:extLst>
            </p:cNvPr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693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01EC3D-F2BF-F4E4-68D3-1A1D4A5523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Approach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FC9526-F6CE-66B7-D827-0F2D2573D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hange icon colou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0E2075C-0C32-910D-C79B-D0AF1EB517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Notes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802A78FC-D33B-240F-7A98-909975BB87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2160585"/>
            <a:ext cx="5447999" cy="4267201"/>
          </a:xfrm>
          <a:solidFill>
            <a:schemeClr val="accent6"/>
          </a:solidFill>
        </p:spPr>
        <p:txBody>
          <a:bodyPr lIns="216000" tIns="180000" rIns="216000"/>
          <a:lstStyle/>
          <a:p>
            <a:pPr marL="342900" indent="-342900">
              <a:buFont typeface="+mj-lt"/>
              <a:buAutoNum type="arabicPeriod"/>
            </a:pPr>
            <a:r>
              <a:rPr lang="en-GB"/>
              <a:t>Select icon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In the tab «Graphics Format» under «Graphics Styles», use </a:t>
            </a:r>
            <a:r>
              <a:rPr lang="en-GB" b="1"/>
              <a:t>«Graphics Fill»</a:t>
            </a:r>
            <a:r>
              <a:rPr lang="en-GB"/>
              <a:t> to change the colour</a:t>
            </a:r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AE39F739-CCD2-DE8C-EAAA-EB623CE052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2000" y="2160587"/>
            <a:ext cx="5449788" cy="4267201"/>
          </a:xfrm>
          <a:solidFill>
            <a:schemeClr val="accent6"/>
          </a:solidFill>
        </p:spPr>
        <p:txBody>
          <a:bodyPr lIns="216000" tIns="180000" rIns="216000"/>
          <a:lstStyle/>
          <a:p>
            <a:r>
              <a:rPr lang="en-GB"/>
              <a:t>For some icons, the colour </a:t>
            </a:r>
            <a:br>
              <a:rPr lang="en-GB"/>
            </a:br>
            <a:r>
              <a:rPr lang="en-GB"/>
              <a:t>can be changed by using </a:t>
            </a:r>
            <a:br>
              <a:rPr lang="en-GB"/>
            </a:br>
            <a:r>
              <a:rPr lang="en-GB" b="1"/>
              <a:t>«Graphics Outline»</a:t>
            </a:r>
            <a:r>
              <a:rPr lang="en-GB"/>
              <a:t> instead </a:t>
            </a:r>
            <a:br>
              <a:rPr lang="en-GB"/>
            </a:br>
            <a:r>
              <a:rPr lang="en-GB"/>
              <a:t>of «Graphics Fill».</a:t>
            </a:r>
          </a:p>
          <a:p>
            <a:r>
              <a:rPr lang="en-GB"/>
              <a:t>The colour cannot be changed </a:t>
            </a:r>
            <a:br>
              <a:rPr lang="en-GB"/>
            </a:br>
            <a:r>
              <a:rPr lang="en-GB"/>
              <a:t>if an icon is inserted as a picture. </a:t>
            </a:r>
            <a:br>
              <a:rPr lang="en-GB"/>
            </a:br>
            <a:r>
              <a:rPr lang="en-GB"/>
              <a:t>In this case, after selecting the </a:t>
            </a:r>
            <a:br>
              <a:rPr lang="en-GB"/>
            </a:br>
            <a:r>
              <a:rPr lang="en-GB"/>
              <a:t>icon, the tab </a:t>
            </a:r>
            <a:r>
              <a:rPr lang="en-GB" b="1"/>
              <a:t>«Picture Format»</a:t>
            </a:r>
            <a:r>
              <a:rPr lang="en-GB"/>
              <a:t> </a:t>
            </a:r>
            <a:br>
              <a:rPr lang="en-GB"/>
            </a:br>
            <a:r>
              <a:rPr lang="en-GB"/>
              <a:t>appears instead of «Graphics Format».</a:t>
            </a:r>
          </a:p>
          <a:p>
            <a:r>
              <a:rPr lang="en-GB"/>
              <a:t>Best vector file format for icons: *.svg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9897B76-0E98-2339-FE2E-504C7E2F6207}"/>
              </a:ext>
            </a:extLst>
          </p:cNvPr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98D7727-1FFC-8D99-661F-EA5AB9D74809}"/>
                </a:ext>
              </a:extLst>
            </p:cNvPr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E9E39E3-D0E7-62EB-6915-BC6FAFEA03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004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</p:spPr>
        </p:pic>
        <p:sp>
          <p:nvSpPr>
            <p:cNvPr id="25" name="Ellipse 25">
              <a:extLst>
                <a:ext uri="{FF2B5EF4-FFF2-40B4-BE49-F238E27FC236}">
                  <a16:creationId xmlns:a16="http://schemas.microsoft.com/office/drawing/2014/main" id="{FF6D0699-C766-BC4F-05D6-A92A5407EAD4}"/>
                </a:ext>
              </a:extLst>
            </p:cNvPr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tx2">
                <a:alpha val="15000"/>
              </a:schemeClr>
            </a:solidFill>
            <a:ln w="28575" cap="rnd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0197D776-54A7-AD7E-F90F-3B5F0A03BD4E}"/>
                </a:ext>
              </a:extLst>
            </p:cNvPr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5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FD86877-F017-144F-CB0E-56CFF4A109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</p:spPr>
        </p:pic>
        <p:sp>
          <p:nvSpPr>
            <p:cNvPr id="32" name="Ellipse 25">
              <a:extLst>
                <a:ext uri="{FF2B5EF4-FFF2-40B4-BE49-F238E27FC236}">
                  <a16:creationId xmlns:a16="http://schemas.microsoft.com/office/drawing/2014/main" id="{8E23C852-01D4-FF3C-7C96-04D4B291C836}"/>
                </a:ext>
              </a:extLst>
            </p:cNvPr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5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0E31800-4D32-D6E4-6368-C730A562DE29}"/>
              </a:ext>
            </a:extLst>
          </p:cNvPr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880E2EB-4CFD-D5A8-6E1C-B13588345FA0}"/>
                </a:ext>
              </a:extLst>
            </p:cNvPr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8580E33-6148-7528-9E8C-89E58397D6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2045" t="20073" r="46617" b="36910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</p:spPr>
        </p:pic>
        <p:sp>
          <p:nvSpPr>
            <p:cNvPr id="38" name="Ellipse 25">
              <a:extLst>
                <a:ext uri="{FF2B5EF4-FFF2-40B4-BE49-F238E27FC236}">
                  <a16:creationId xmlns:a16="http://schemas.microsoft.com/office/drawing/2014/main" id="{23882F23-5786-DCF9-3099-F38F3F63018A}"/>
                </a:ext>
              </a:extLst>
            </p:cNvPr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5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10B5466-D6DA-68EF-9AC0-A98CBE1DCD43}"/>
              </a:ext>
            </a:extLst>
          </p:cNvPr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08EB9D1-3663-A72F-18BB-E836415D159A}"/>
                </a:ext>
              </a:extLst>
            </p:cNvPr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C644038-51A6-DCEC-1F09-5CA82C6F4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1950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  <a:p>
            <a:r>
              <a:rPr lang="en-GB" dirty="0"/>
              <a:t>Key Functionalities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4C674D-869D-8F0F-0AD9-DFE4BF1E1B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4C674D-869D-8F0F-0AD9-DFE4BF1E1B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8">
            <a:extLst>
              <a:ext uri="{FF2B5EF4-FFF2-40B4-BE49-F238E27FC236}">
                <a16:creationId xmlns:a16="http://schemas.microsoft.com/office/drawing/2014/main" id="{05A8A77E-9148-3872-0E0C-963DC02F6E44}"/>
              </a:ext>
            </a:extLst>
          </p:cNvPr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40977D7-62B4-D1CD-1F9C-CBEE938CDDF8}"/>
              </a:ext>
            </a:extLst>
          </p:cNvPr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62" name="Picture Placeholder 7">
              <a:extLst>
                <a:ext uri="{FF2B5EF4-FFF2-40B4-BE49-F238E27FC236}">
                  <a16:creationId xmlns:a16="http://schemas.microsoft.com/office/drawing/2014/main" id="{B2AEB8FB-8D76-8D04-D830-3C4B5C77A3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9896" t="5647" r="14925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ln w="19050">
              <a:noFill/>
            </a:ln>
            <a:effectLst>
              <a:outerShdw blurRad="177800" dist="101600" dir="2700000" algn="tl" rotWithShape="0">
                <a:prstClr val="black">
                  <a:alpha val="22000"/>
                </a:prstClr>
              </a:outerShdw>
            </a:effectLst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E9A67F6-0B55-59CD-054D-D1F517A33F0D}"/>
                </a:ext>
              </a:extLst>
            </p:cNvPr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tx1"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1" name="Rectangle 8">
            <a:extLst>
              <a:ext uri="{FF2B5EF4-FFF2-40B4-BE49-F238E27FC236}">
                <a16:creationId xmlns:a16="http://schemas.microsoft.com/office/drawing/2014/main" id="{9D2991C1-5A52-5A93-69AA-3A6112776AB8}"/>
              </a:ext>
            </a:extLst>
          </p:cNvPr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F737176-E122-A404-C048-B1CECC1B342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ln w="19050">
            <a:noFill/>
          </a:ln>
          <a:effectLst>
            <a:outerShdw blurRad="177800" dist="101600" dir="2700000" algn="tl" rotWithShape="0">
              <a:prstClr val="black">
                <a:alpha val="22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F8E9DAF-3637-DD8C-3DBE-311781B76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Insert image into placeholder</a:t>
            </a:r>
          </a:p>
        </p:txBody>
      </p:sp>
      <p:sp>
        <p:nvSpPr>
          <p:cNvPr id="14" name="Textfeld 46">
            <a:extLst>
              <a:ext uri="{FF2B5EF4-FFF2-40B4-BE49-F238E27FC236}">
                <a16:creationId xmlns:a16="http://schemas.microsoft.com/office/drawing/2014/main" id="{54DF91C2-B49A-AA10-5018-4BB5A3454847}"/>
              </a:ext>
            </a:extLst>
          </p:cNvPr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de-DE"/>
            </a:defPPr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671344"/>
              </a:buClr>
              <a:buSzPct val="100000"/>
              <a:buFont typeface="+mj-lt"/>
              <a:buAutoNum type="arabicPeriod"/>
              <a:defRPr sz="1200">
                <a:cs typeface="Arial" panose="020B0604020202020204" pitchFamily="34" charset="0"/>
              </a:defRPr>
            </a:lvl1pPr>
            <a:lvl2pPr marL="360000" lvl="1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 sz="1400">
                <a:cs typeface="Arial" panose="020B0604020202020204" pitchFamily="34" charset="0"/>
              </a:defRPr>
            </a:lvl2pPr>
            <a:lvl3pPr marL="540000" lvl="2" indent="-17938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cs typeface="Arial" panose="020B0604020202020204" pitchFamily="34" charset="0"/>
              </a:defRPr>
            </a:lvl3pPr>
            <a:lvl4pPr marL="719138" lvl="3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cs typeface="Arial" panose="020B0604020202020204" pitchFamily="34" charset="0"/>
              </a:defRPr>
            </a:lvl4pPr>
            <a:lvl5pPr marL="180000" lvl="4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tabLst/>
              <a:defRPr sz="1400" b="0">
                <a:cs typeface="Arial" panose="020B0604020202020204" pitchFamily="34" charset="0"/>
              </a:defRPr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defRPr sz="1400" b="1">
                <a:cs typeface="Arial" panose="020B0604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+mj-lt"/>
              <a:buNone/>
              <a:defRPr b="0">
                <a:solidFill>
                  <a:schemeClr val="tx2"/>
                </a:solidFill>
                <a:cs typeface="Arial" panose="020B0604020202020204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None/>
              <a:defRPr sz="1400">
                <a:cs typeface="Arial" panose="020B0604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b="0"/>
            </a:lvl9pPr>
          </a:lstStyle>
          <a:p>
            <a:pPr lvl="5" defTabSz="914377">
              <a:spcAft>
                <a:spcPts val="1067"/>
              </a:spcAft>
              <a:buClr>
                <a:srgbClr val="678FB0"/>
              </a:buClr>
              <a:defRPr/>
            </a:pPr>
            <a:r>
              <a:rPr lang="en-GB" dirty="0">
                <a:sym typeface="Arial" panose="020B0604020202020204" pitchFamily="34" charset="0"/>
              </a:rPr>
              <a:t>Insert image from external source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ym typeface="Arial" panose="020B0604020202020204" pitchFamily="34" charset="0"/>
              </a:rPr>
              <a:t>Click on the image            icon, select image from </a:t>
            </a:r>
            <a:r>
              <a:rPr lang="en-GB" sz="1400" dirty="0" err="1">
                <a:sym typeface="Arial" panose="020B0604020202020204" pitchFamily="34" charset="0"/>
              </a:rPr>
              <a:t>Sharepoint</a:t>
            </a:r>
            <a:r>
              <a:rPr lang="en-GB" sz="1400" dirty="0">
                <a:sym typeface="Arial" panose="020B0604020202020204" pitchFamily="34" charset="0"/>
              </a:rPr>
              <a:t> or other source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ym typeface="Arial" panose="020B0604020202020204" pitchFamily="34" charset="0"/>
              </a:rPr>
              <a:t>The bbv image library is here locally located: </a:t>
            </a:r>
            <a:r>
              <a:rPr lang="en-GB" sz="1400" i="1" dirty="0">
                <a:sym typeface="Arial" panose="020B0604020202020204" pitchFamily="34" charset="0"/>
                <a:hlinkClick r:id="rId7" action="ppaction://hlinkfile"/>
              </a:rPr>
              <a:t>C:\Users\Public\bbv_templates\Marketing\PPT-Bibliotheken\Bilder-Bibliothek</a:t>
            </a:r>
            <a:endParaRPr lang="en-GB" sz="1400" i="1" dirty="0">
              <a:sym typeface="Arial" panose="020B0604020202020204" pitchFamily="34" charset="0"/>
            </a:endParaRP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ym typeface="Arial" panose="020B0604020202020204" pitchFamily="34" charset="0"/>
              </a:rPr>
              <a:t>Or: copy image from external source with </a:t>
            </a:r>
            <a:r>
              <a:rPr lang="en-GB" sz="1400" dirty="0" err="1">
                <a:sym typeface="Arial" panose="020B0604020202020204" pitchFamily="34" charset="0"/>
              </a:rPr>
              <a:t>Ctrl+C</a:t>
            </a:r>
            <a:r>
              <a:rPr lang="en-GB" sz="1400" dirty="0">
                <a:sym typeface="Arial" panose="020B0604020202020204" pitchFamily="34" charset="0"/>
              </a:rPr>
              <a:t>, select the placeholder, then paste with </a:t>
            </a:r>
            <a:r>
              <a:rPr lang="en-GB" sz="1400" dirty="0" err="1">
                <a:sym typeface="Arial" panose="020B0604020202020204" pitchFamily="34" charset="0"/>
              </a:rPr>
              <a:t>Ctrl+V</a:t>
            </a:r>
            <a:endParaRPr lang="en-GB" sz="1400" dirty="0">
              <a:sym typeface="Arial" panose="020B0604020202020204" pitchFamily="34" charset="0"/>
            </a:endParaRPr>
          </a:p>
        </p:txBody>
      </p:sp>
      <p:sp>
        <p:nvSpPr>
          <p:cNvPr id="15" name="Textfeld 46">
            <a:extLst>
              <a:ext uri="{FF2B5EF4-FFF2-40B4-BE49-F238E27FC236}">
                <a16:creationId xmlns:a16="http://schemas.microsoft.com/office/drawing/2014/main" id="{862FDC31-4259-0DB9-F452-0C5EA5FBDC82}"/>
              </a:ext>
            </a:extLst>
          </p:cNvPr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671344"/>
              </a:buClr>
              <a:buSzPct val="100000"/>
              <a:buFont typeface="+mj-lt"/>
              <a:buAutoNum type="arabicPeriod"/>
              <a:defRPr lang="de-DE" sz="1400">
                <a:cs typeface="Arial" panose="020B0604020202020204" pitchFamily="34" charset="0"/>
              </a:defRPr>
            </a:lvl1pPr>
            <a:lvl2pPr marL="360000" lvl="1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 lang="de-DE" sz="1400">
                <a:cs typeface="Arial" panose="020B0604020202020204" pitchFamily="34" charset="0"/>
              </a:defRPr>
            </a:lvl2pPr>
            <a:lvl3pPr marL="540000" lvl="2" indent="-17938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de-DE" sz="1400">
                <a:cs typeface="Arial" panose="020B0604020202020204" pitchFamily="34" charset="0"/>
              </a:defRPr>
            </a:lvl3pPr>
            <a:lvl4pPr marL="719138" lvl="3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de-DE" sz="1400">
                <a:cs typeface="Arial" panose="020B0604020202020204" pitchFamily="34" charset="0"/>
              </a:defRPr>
            </a:lvl4pPr>
            <a:lvl5pPr marL="180000" lvl="4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tabLst/>
              <a:defRPr lang="de-DE" sz="1400" b="0">
                <a:cs typeface="Arial" panose="020B0604020202020204" pitchFamily="34" charset="0"/>
              </a:defRPr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defRPr lang="de-DE" sz="1400" b="1">
                <a:cs typeface="Arial" panose="020B0604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+mj-lt"/>
              <a:buNone/>
              <a:defRPr lang="de-DE" b="0">
                <a:solidFill>
                  <a:schemeClr val="tx2"/>
                </a:solidFill>
                <a:cs typeface="Arial" panose="020B0604020202020204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None/>
              <a:defRPr lang="de-DE" sz="1400">
                <a:cs typeface="Arial" panose="020B0604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None/>
              <a:defRPr lang="de-DE" sz="1400" b="0" dirty="0"/>
            </a:lvl9pPr>
          </a:lstStyle>
          <a:p>
            <a:pPr marL="0" indent="0" defTabSz="914377">
              <a:spcAft>
                <a:spcPts val="1067"/>
              </a:spcAft>
              <a:buClr>
                <a:srgbClr val="E30613"/>
              </a:buClr>
              <a:buNone/>
              <a:defRPr/>
            </a:pPr>
            <a:r>
              <a:rPr lang="en-GB" b="1">
                <a:sym typeface="Arial" panose="020B0604020202020204" pitchFamily="34" charset="0"/>
              </a:rPr>
              <a:t>Adjust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Select the image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Click in the tab «Picture Format» on «Crop»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Adjust the image composition by moving the image 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Resize the image by clicking and dragging the outer circles.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Click again on «Crop» to finish the adjustments</a:t>
            </a:r>
          </a:p>
        </p:txBody>
      </p:sp>
      <p:cxnSp>
        <p:nvCxnSpPr>
          <p:cNvPr id="17" name="Gerade Verbindung mit Pfeil 94">
            <a:extLst>
              <a:ext uri="{FF2B5EF4-FFF2-40B4-BE49-F238E27FC236}">
                <a16:creationId xmlns:a16="http://schemas.microsoft.com/office/drawing/2014/main" id="{A511B286-1545-FD7B-DCB7-8B5442EC52AF}"/>
              </a:ext>
            </a:extLst>
          </p:cNvPr>
          <p:cNvCxnSpPr>
            <a:cxnSpLocks/>
          </p:cNvCxnSpPr>
          <p:nvPr/>
        </p:nvCxnSpPr>
        <p:spPr bwMode="auto">
          <a:xfrm>
            <a:off x="3018503" y="4570185"/>
            <a:ext cx="3195665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41">
            <a:extLst>
              <a:ext uri="{FF2B5EF4-FFF2-40B4-BE49-F238E27FC236}">
                <a16:creationId xmlns:a16="http://schemas.microsoft.com/office/drawing/2014/main" id="{04350079-E221-80CA-4C62-EAC0DE598603}"/>
              </a:ext>
            </a:extLst>
          </p:cNvPr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>
            <a:solidFill>
              <a:srgbClr val="F3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grpSp>
        <p:nvGrpSpPr>
          <p:cNvPr id="21" name="Gruppieren 43">
            <a:extLst>
              <a:ext uri="{FF2B5EF4-FFF2-40B4-BE49-F238E27FC236}">
                <a16:creationId xmlns:a16="http://schemas.microsoft.com/office/drawing/2014/main" id="{FEDD1F48-77E8-24A4-19AC-27B41C28AC56}"/>
              </a:ext>
            </a:extLst>
          </p:cNvPr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22" name="Rechteck 41">
              <a:extLst>
                <a:ext uri="{FF2B5EF4-FFF2-40B4-BE49-F238E27FC236}">
                  <a16:creationId xmlns:a16="http://schemas.microsoft.com/office/drawing/2014/main" id="{935C84EF-CCEE-F4E5-D2A8-25D0334B38ED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Rechteck 42">
              <a:extLst>
                <a:ext uri="{FF2B5EF4-FFF2-40B4-BE49-F238E27FC236}">
                  <a16:creationId xmlns:a16="http://schemas.microsoft.com/office/drawing/2014/main" id="{C461557E-615C-B030-2D9D-8426B78A7598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ieren 44">
            <a:extLst>
              <a:ext uri="{FF2B5EF4-FFF2-40B4-BE49-F238E27FC236}">
                <a16:creationId xmlns:a16="http://schemas.microsoft.com/office/drawing/2014/main" id="{F569182A-8730-F2B4-5E3F-C669F4F2BC26}"/>
              </a:ext>
            </a:extLst>
          </p:cNvPr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25" name="Rechteck 45">
              <a:extLst>
                <a:ext uri="{FF2B5EF4-FFF2-40B4-BE49-F238E27FC236}">
                  <a16:creationId xmlns:a16="http://schemas.microsoft.com/office/drawing/2014/main" id="{12A51E69-0BC7-4668-AAA7-5166EBAC8197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Rechteck 46">
              <a:extLst>
                <a:ext uri="{FF2B5EF4-FFF2-40B4-BE49-F238E27FC236}">
                  <a16:creationId xmlns:a16="http://schemas.microsoft.com/office/drawing/2014/main" id="{F96A959A-12BF-31B6-7ACA-7F4870A4D216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7" name="Gruppieren 47">
            <a:extLst>
              <a:ext uri="{FF2B5EF4-FFF2-40B4-BE49-F238E27FC236}">
                <a16:creationId xmlns:a16="http://schemas.microsoft.com/office/drawing/2014/main" id="{4815BCDE-65AD-6865-FB4E-ADB47E589B48}"/>
              </a:ext>
            </a:extLst>
          </p:cNvPr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28" name="Rechteck 48">
              <a:extLst>
                <a:ext uri="{FF2B5EF4-FFF2-40B4-BE49-F238E27FC236}">
                  <a16:creationId xmlns:a16="http://schemas.microsoft.com/office/drawing/2014/main" id="{707BA450-EBC4-4895-9A9D-1F9EA6C97350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" name="Rechteck 49">
              <a:extLst>
                <a:ext uri="{FF2B5EF4-FFF2-40B4-BE49-F238E27FC236}">
                  <a16:creationId xmlns:a16="http://schemas.microsoft.com/office/drawing/2014/main" id="{5A6B916A-E479-CBC4-072C-709A43DBA3E6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0" name="Gruppieren 50">
            <a:extLst>
              <a:ext uri="{FF2B5EF4-FFF2-40B4-BE49-F238E27FC236}">
                <a16:creationId xmlns:a16="http://schemas.microsoft.com/office/drawing/2014/main" id="{80E5336F-4351-6773-C4B7-2DE7721227AD}"/>
              </a:ext>
            </a:extLst>
          </p:cNvPr>
          <p:cNvGrpSpPr/>
          <p:nvPr/>
        </p:nvGrpSpPr>
        <p:grpSpPr>
          <a:xfrm rot="16200000">
            <a:off x="3525807" y="5985904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31" name="Rechteck 51">
              <a:extLst>
                <a:ext uri="{FF2B5EF4-FFF2-40B4-BE49-F238E27FC236}">
                  <a16:creationId xmlns:a16="http://schemas.microsoft.com/office/drawing/2014/main" id="{AA8579B9-03EF-D5BA-1458-53519F29CAD6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" name="Rechteck 52">
              <a:extLst>
                <a:ext uri="{FF2B5EF4-FFF2-40B4-BE49-F238E27FC236}">
                  <a16:creationId xmlns:a16="http://schemas.microsoft.com/office/drawing/2014/main" id="{47AF9317-ACAA-C1D2-BDBF-D07FB4FF9A41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3" name="Rechteck 53">
            <a:extLst>
              <a:ext uri="{FF2B5EF4-FFF2-40B4-BE49-F238E27FC236}">
                <a16:creationId xmlns:a16="http://schemas.microsoft.com/office/drawing/2014/main" id="{1DFB1046-F131-09B7-E7D6-2DBCC79E8D5B}"/>
              </a:ext>
            </a:extLst>
          </p:cNvPr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4" name="Rechteck 54">
            <a:extLst>
              <a:ext uri="{FF2B5EF4-FFF2-40B4-BE49-F238E27FC236}">
                <a16:creationId xmlns:a16="http://schemas.microsoft.com/office/drawing/2014/main" id="{2DB7FF71-A990-8611-DE16-2E824A3831A3}"/>
              </a:ext>
            </a:extLst>
          </p:cNvPr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5" name="Ellipse 55">
            <a:extLst>
              <a:ext uri="{FF2B5EF4-FFF2-40B4-BE49-F238E27FC236}">
                <a16:creationId xmlns:a16="http://schemas.microsoft.com/office/drawing/2014/main" id="{6758CADA-612F-FCC4-2D51-D9F6E95D3209}"/>
              </a:ext>
            </a:extLst>
          </p:cNvPr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6" name="Ellipse 56">
            <a:extLst>
              <a:ext uri="{FF2B5EF4-FFF2-40B4-BE49-F238E27FC236}">
                <a16:creationId xmlns:a16="http://schemas.microsoft.com/office/drawing/2014/main" id="{35181343-5E20-8439-5F73-E3545FCF4FA6}"/>
              </a:ext>
            </a:extLst>
          </p:cNvPr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7" name="Ellipse 57">
            <a:extLst>
              <a:ext uri="{FF2B5EF4-FFF2-40B4-BE49-F238E27FC236}">
                <a16:creationId xmlns:a16="http://schemas.microsoft.com/office/drawing/2014/main" id="{F50F96A3-5203-0EF1-81E2-F8821B4E8B0E}"/>
              </a:ext>
            </a:extLst>
          </p:cNvPr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8" name="Ellipse 58">
            <a:extLst>
              <a:ext uri="{FF2B5EF4-FFF2-40B4-BE49-F238E27FC236}">
                <a16:creationId xmlns:a16="http://schemas.microsoft.com/office/drawing/2014/main" id="{D19F1F1C-F0CC-1C4A-EF90-55EED0CA33F7}"/>
              </a:ext>
            </a:extLst>
          </p:cNvPr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9" name="Ellipse 59">
            <a:extLst>
              <a:ext uri="{FF2B5EF4-FFF2-40B4-BE49-F238E27FC236}">
                <a16:creationId xmlns:a16="http://schemas.microsoft.com/office/drawing/2014/main" id="{984794C3-3E3A-DB6C-1AA1-8B51A68BAF5F}"/>
              </a:ext>
            </a:extLst>
          </p:cNvPr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40" name="Ellipse 60">
            <a:extLst>
              <a:ext uri="{FF2B5EF4-FFF2-40B4-BE49-F238E27FC236}">
                <a16:creationId xmlns:a16="http://schemas.microsoft.com/office/drawing/2014/main" id="{1CA8CEF2-332A-DB24-B67D-3C35D900A07A}"/>
              </a:ext>
            </a:extLst>
          </p:cNvPr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41" name="Rechteck 61">
            <a:extLst>
              <a:ext uri="{FF2B5EF4-FFF2-40B4-BE49-F238E27FC236}">
                <a16:creationId xmlns:a16="http://schemas.microsoft.com/office/drawing/2014/main" id="{F25F55EB-C6D4-0D06-4B99-C911BC3291D1}"/>
              </a:ext>
            </a:extLst>
          </p:cNvPr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42" name="Rechteck 62">
            <a:extLst>
              <a:ext uri="{FF2B5EF4-FFF2-40B4-BE49-F238E27FC236}">
                <a16:creationId xmlns:a16="http://schemas.microsoft.com/office/drawing/2014/main" id="{2581ADA8-6413-7BFA-A150-3EE8C6C0EE32}"/>
              </a:ext>
            </a:extLst>
          </p:cNvPr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grpSp>
        <p:nvGrpSpPr>
          <p:cNvPr id="43" name="Gruppieren 73">
            <a:extLst>
              <a:ext uri="{FF2B5EF4-FFF2-40B4-BE49-F238E27FC236}">
                <a16:creationId xmlns:a16="http://schemas.microsoft.com/office/drawing/2014/main" id="{68641A5E-BF48-CDFB-8057-9D6A64418F22}"/>
              </a:ext>
            </a:extLst>
          </p:cNvPr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44" name="Gruppieren 69">
              <a:extLst>
                <a:ext uri="{FF2B5EF4-FFF2-40B4-BE49-F238E27FC236}">
                  <a16:creationId xmlns:a16="http://schemas.microsoft.com/office/drawing/2014/main" id="{2DE4F716-A6CC-5BA0-38FA-493F22C898D6}"/>
                </a:ext>
              </a:extLst>
            </p:cNvPr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48" name="Grafik 65" descr="Pfeil nach oben mit einfarbiger Füllung">
                <a:extLst>
                  <a:ext uri="{FF2B5EF4-FFF2-40B4-BE49-F238E27FC236}">
                    <a16:creationId xmlns:a16="http://schemas.microsoft.com/office/drawing/2014/main" id="{6D0CE4AC-3380-3D04-BE05-707788879C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49" name="Grafik 68" descr="Pfeil nach oben mit einfarbiger Füllung">
                <a:extLst>
                  <a:ext uri="{FF2B5EF4-FFF2-40B4-BE49-F238E27FC236}">
                    <a16:creationId xmlns:a16="http://schemas.microsoft.com/office/drawing/2014/main" id="{A3015999-1C81-B164-3439-F7B043FBAC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V="1">
                <a:off x="5638800" y="327016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45" name="Gruppieren 70">
              <a:extLst>
                <a:ext uri="{FF2B5EF4-FFF2-40B4-BE49-F238E27FC236}">
                  <a16:creationId xmlns:a16="http://schemas.microsoft.com/office/drawing/2014/main" id="{F55D330B-C908-B456-A2E1-2691BDEAC025}"/>
                </a:ext>
              </a:extLst>
            </p:cNvPr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46" name="Grafik 71" descr="Pfeil nach oben mit einfarbiger Füllung">
                <a:extLst>
                  <a:ext uri="{FF2B5EF4-FFF2-40B4-BE49-F238E27FC236}">
                    <a16:creationId xmlns:a16="http://schemas.microsoft.com/office/drawing/2014/main" id="{C218EF49-54D9-4428-FEDC-DC2CC8D0BF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47" name="Grafik 72" descr="Pfeil nach oben mit einfarbiger Füllung">
                <a:extLst>
                  <a:ext uri="{FF2B5EF4-FFF2-40B4-BE49-F238E27FC236}">
                    <a16:creationId xmlns:a16="http://schemas.microsoft.com/office/drawing/2014/main" id="{B5B38DE0-2EC5-29F5-C782-3ABEBD77E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V="1">
                <a:off x="5638800" y="3270168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E16107A-AB1F-D5FC-DA73-54D1223E3EEB}"/>
              </a:ext>
            </a:extLst>
          </p:cNvPr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44D660B-CE66-7953-8A4A-9820259A1871}"/>
                </a:ext>
              </a:extLst>
            </p:cNvPr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1BA502CB-C617-D999-54FA-FBCEC53FC8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94A1E54D-43DC-7E62-44A8-C32086140F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</p:spPr>
        </p:pic>
        <p:sp>
          <p:nvSpPr>
            <p:cNvPr id="13" name="Ellipse 25">
              <a:extLst>
                <a:ext uri="{FF2B5EF4-FFF2-40B4-BE49-F238E27FC236}">
                  <a16:creationId xmlns:a16="http://schemas.microsoft.com/office/drawing/2014/main" id="{0E5EF97D-4433-BBB2-4F42-4BF2F509E68A}"/>
                </a:ext>
              </a:extLst>
            </p:cNvPr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0" name="Ellipse 25">
              <a:extLst>
                <a:ext uri="{FF2B5EF4-FFF2-40B4-BE49-F238E27FC236}">
                  <a16:creationId xmlns:a16="http://schemas.microsoft.com/office/drawing/2014/main" id="{0CECC691-DF93-B1BE-EFF2-FB3CE6DEAEDD}"/>
                </a:ext>
              </a:extLst>
            </p:cNvPr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8447CBC-A276-12AE-E95A-A3DE5A077712}"/>
              </a:ext>
            </a:extLst>
          </p:cNvPr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52" name="Gerader Verbinder 50">
              <a:extLst>
                <a:ext uri="{FF2B5EF4-FFF2-40B4-BE49-F238E27FC236}">
                  <a16:creationId xmlns:a16="http://schemas.microsoft.com/office/drawing/2014/main" id="{05DED289-B22E-3812-15EE-13B8A5A37A5D}"/>
                </a:ext>
              </a:extLst>
            </p:cNvPr>
            <p:cNvCxnSpPr>
              <a:cxnSpLocks/>
            </p:cNvCxnSpPr>
            <p:nvPr/>
          </p:nvCxnSpPr>
          <p:spPr>
            <a:xfrm>
              <a:off x="6597549" y="2559187"/>
              <a:ext cx="197613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5">
              <a:extLst>
                <a:ext uri="{FF2B5EF4-FFF2-40B4-BE49-F238E27FC236}">
                  <a16:creationId xmlns:a16="http://schemas.microsoft.com/office/drawing/2014/main" id="{7CAE5EC2-6414-BB77-749B-F5F2167EF77C}"/>
                </a:ext>
              </a:extLst>
            </p:cNvPr>
            <p:cNvCxnSpPr>
              <a:cxnSpLocks/>
            </p:cNvCxnSpPr>
            <p:nvPr/>
          </p:nvCxnSpPr>
          <p:spPr>
            <a:xfrm>
              <a:off x="6597549" y="1520825"/>
              <a:ext cx="0" cy="207672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5" name="Gerade Verbindung mit Pfeil 94">
            <a:extLst>
              <a:ext uri="{FF2B5EF4-FFF2-40B4-BE49-F238E27FC236}">
                <a16:creationId xmlns:a16="http://schemas.microsoft.com/office/drawing/2014/main" id="{E84C9C02-2A67-B6DE-89BE-4378EBE1A5F6}"/>
              </a:ext>
            </a:extLst>
          </p:cNvPr>
          <p:cNvCxnSpPr>
            <a:cxnSpLocks/>
          </p:cNvCxnSpPr>
          <p:nvPr/>
        </p:nvCxnSpPr>
        <p:spPr bwMode="auto">
          <a:xfrm>
            <a:off x="4919271" y="5222470"/>
            <a:ext cx="1294897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Grafik 67" descr="Cursor mit einfarbiger Füllung">
            <a:extLst>
              <a:ext uri="{FF2B5EF4-FFF2-40B4-BE49-F238E27FC236}">
                <a16:creationId xmlns:a16="http://schemas.microsoft.com/office/drawing/2014/main" id="{CFC45C61-2C44-130D-242A-860DC8CA6C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81579" y="5159510"/>
            <a:ext cx="367089" cy="367089"/>
          </a:xfrm>
          <a:prstGeom prst="rect">
            <a:avLst/>
          </a:prstGeom>
        </p:spPr>
      </p:pic>
      <p:cxnSp>
        <p:nvCxnSpPr>
          <p:cNvPr id="61" name="Gerade Verbindung mit Pfeil 94">
            <a:extLst>
              <a:ext uri="{FF2B5EF4-FFF2-40B4-BE49-F238E27FC236}">
                <a16:creationId xmlns:a16="http://schemas.microsoft.com/office/drawing/2014/main" id="{C5A53C75-E973-47F2-4776-C367C93DC9C9}"/>
              </a:ext>
            </a:extLst>
          </p:cNvPr>
          <p:cNvCxnSpPr>
            <a:cxnSpLocks/>
          </p:cNvCxnSpPr>
          <p:nvPr/>
        </p:nvCxnSpPr>
        <p:spPr bwMode="auto">
          <a:xfrm>
            <a:off x="5860347" y="6204204"/>
            <a:ext cx="353821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FBDA76-6F55-0D0E-5B71-9DF26805617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342" y="1756560"/>
            <a:ext cx="2925826" cy="1643050"/>
          </a:xfrm>
          <a:prstGeom prst="rect">
            <a:avLst/>
          </a:prstGeom>
          <a:ln w="19050">
            <a:noFill/>
          </a:ln>
          <a:effectLst>
            <a:outerShdw blurRad="177800" dist="101600" dir="2700000" algn="tl" rotWithShape="0">
              <a:prstClr val="black">
                <a:alpha val="22000"/>
              </a:prstClr>
            </a:outerShdw>
          </a:effectLst>
        </p:spPr>
      </p:pic>
      <p:pic>
        <p:nvPicPr>
          <p:cNvPr id="18" name="Grafik 12">
            <a:extLst>
              <a:ext uri="{FF2B5EF4-FFF2-40B4-BE49-F238E27FC236}">
                <a16:creationId xmlns:a16="http://schemas.microsoft.com/office/drawing/2014/main" id="{6C1F0F9D-5AB0-57CB-AFDB-64856AE00006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 w="28575" cap="rnd">
            <a:noFill/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A092A50-B800-4274-8F7B-39A891B73B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880016" y="1752100"/>
            <a:ext cx="447566" cy="344281"/>
          </a:xfrm>
          <a:prstGeom prst="rect">
            <a:avLst/>
          </a:prstGeom>
        </p:spPr>
      </p:pic>
      <p:cxnSp>
        <p:nvCxnSpPr>
          <p:cNvPr id="16" name="Gerade Verbindung mit Pfeil 94">
            <a:extLst>
              <a:ext uri="{FF2B5EF4-FFF2-40B4-BE49-F238E27FC236}">
                <a16:creationId xmlns:a16="http://schemas.microsoft.com/office/drawing/2014/main" id="{4DFA2879-8341-D21D-04E0-E40198CB47C8}"/>
              </a:ext>
            </a:extLst>
          </p:cNvPr>
          <p:cNvCxnSpPr>
            <a:cxnSpLocks/>
          </p:cNvCxnSpPr>
          <p:nvPr/>
        </p:nvCxnSpPr>
        <p:spPr bwMode="auto">
          <a:xfrm>
            <a:off x="6214168" y="4740558"/>
            <a:ext cx="580994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94">
            <a:extLst>
              <a:ext uri="{FF2B5EF4-FFF2-40B4-BE49-F238E27FC236}">
                <a16:creationId xmlns:a16="http://schemas.microsoft.com/office/drawing/2014/main" id="{EEE38C49-BAD9-EDDA-E4E9-52698530CED0}"/>
              </a:ext>
            </a:extLst>
          </p:cNvPr>
          <p:cNvCxnSpPr>
            <a:cxnSpLocks/>
          </p:cNvCxnSpPr>
          <p:nvPr/>
        </p:nvCxnSpPr>
        <p:spPr bwMode="auto">
          <a:xfrm flipV="1">
            <a:off x="6214168" y="4570185"/>
            <a:ext cx="0" cy="170373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94">
            <a:extLst>
              <a:ext uri="{FF2B5EF4-FFF2-40B4-BE49-F238E27FC236}">
                <a16:creationId xmlns:a16="http://schemas.microsoft.com/office/drawing/2014/main" id="{3CC64D5E-349E-8240-9DE4-89257631F9B1}"/>
              </a:ext>
            </a:extLst>
          </p:cNvPr>
          <p:cNvCxnSpPr>
            <a:cxnSpLocks/>
          </p:cNvCxnSpPr>
          <p:nvPr/>
        </p:nvCxnSpPr>
        <p:spPr bwMode="auto">
          <a:xfrm>
            <a:off x="6214168" y="5087702"/>
            <a:ext cx="580994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94">
            <a:extLst>
              <a:ext uri="{FF2B5EF4-FFF2-40B4-BE49-F238E27FC236}">
                <a16:creationId xmlns:a16="http://schemas.microsoft.com/office/drawing/2014/main" id="{1DE7FC3F-DB0D-D9D7-F5C4-172B9B3C8545}"/>
              </a:ext>
            </a:extLst>
          </p:cNvPr>
          <p:cNvCxnSpPr>
            <a:cxnSpLocks/>
          </p:cNvCxnSpPr>
          <p:nvPr/>
        </p:nvCxnSpPr>
        <p:spPr bwMode="auto">
          <a:xfrm flipV="1">
            <a:off x="6214168" y="5087702"/>
            <a:ext cx="0" cy="134768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94">
            <a:extLst>
              <a:ext uri="{FF2B5EF4-FFF2-40B4-BE49-F238E27FC236}">
                <a16:creationId xmlns:a16="http://schemas.microsoft.com/office/drawing/2014/main" id="{82F0081C-8F76-53D9-6F86-2C6265B86B07}"/>
              </a:ext>
            </a:extLst>
          </p:cNvPr>
          <p:cNvCxnSpPr>
            <a:cxnSpLocks/>
          </p:cNvCxnSpPr>
          <p:nvPr/>
        </p:nvCxnSpPr>
        <p:spPr bwMode="auto">
          <a:xfrm>
            <a:off x="6214168" y="5450499"/>
            <a:ext cx="580994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94">
            <a:extLst>
              <a:ext uri="{FF2B5EF4-FFF2-40B4-BE49-F238E27FC236}">
                <a16:creationId xmlns:a16="http://schemas.microsoft.com/office/drawing/2014/main" id="{A36229C4-290B-51BE-6390-F3F2E02E4051}"/>
              </a:ext>
            </a:extLst>
          </p:cNvPr>
          <p:cNvCxnSpPr>
            <a:cxnSpLocks/>
          </p:cNvCxnSpPr>
          <p:nvPr/>
        </p:nvCxnSpPr>
        <p:spPr bwMode="auto">
          <a:xfrm flipV="1">
            <a:off x="6214168" y="5450499"/>
            <a:ext cx="0" cy="753705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604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46326DB-CB54-095D-4F7D-8B5DF9F93C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2115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46326DB-CB54-095D-4F7D-8B5DF9F93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7">
            <a:extLst>
              <a:ext uri="{FF2B5EF4-FFF2-40B4-BE49-F238E27FC236}">
                <a16:creationId xmlns:a16="http://schemas.microsoft.com/office/drawing/2014/main" id="{BB7ABEA0-18EA-BDCC-D69D-B79E72C79A4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447" t="8409" r="21861" b="23177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76F46B4C-6949-6A6E-AE55-128D6E9FBE2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447" t="8409" r="21861" b="23177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A379D13-300E-63A0-C653-764779FB6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noProof="0" dirty="0">
                <a:cs typeface="Arial" panose="020B0604020202020204" pitchFamily="34" charset="0"/>
              </a:rPr>
              <a:t>Insert image </a:t>
            </a:r>
            <a:r>
              <a:rPr lang="en-GB" noProof="0">
                <a:cs typeface="Arial" panose="020B0604020202020204" pitchFamily="34" charset="0"/>
              </a:rPr>
              <a:t>into mock-up </a:t>
            </a:r>
            <a:r>
              <a:rPr lang="en-GB" noProof="0" dirty="0">
                <a:cs typeface="Arial" panose="020B0604020202020204" pitchFamily="34" charset="0"/>
              </a:rPr>
              <a:t>screen (mobile/laptop)</a:t>
            </a:r>
          </a:p>
        </p:txBody>
      </p:sp>
      <p:cxnSp>
        <p:nvCxnSpPr>
          <p:cNvPr id="26" name="Straight Connector 16">
            <a:extLst>
              <a:ext uri="{FF2B5EF4-FFF2-40B4-BE49-F238E27FC236}">
                <a16:creationId xmlns:a16="http://schemas.microsoft.com/office/drawing/2014/main" id="{D505FFF4-7756-027E-1274-55D8A1319E8E}"/>
              </a:ext>
            </a:extLst>
          </p:cNvPr>
          <p:cNvCxnSpPr>
            <a:cxnSpLocks/>
          </p:cNvCxnSpPr>
          <p:nvPr/>
        </p:nvCxnSpPr>
        <p:spPr>
          <a:xfrm flipH="1">
            <a:off x="5291999" y="2348442"/>
            <a:ext cx="646978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</a:ln>
          <a:effectLst/>
        </p:spPr>
      </p:cxnSp>
      <p:cxnSp>
        <p:nvCxnSpPr>
          <p:cNvPr id="27" name="Straight Connector 17">
            <a:extLst>
              <a:ext uri="{FF2B5EF4-FFF2-40B4-BE49-F238E27FC236}">
                <a16:creationId xmlns:a16="http://schemas.microsoft.com/office/drawing/2014/main" id="{058EB6A9-37D2-7E0C-59D8-7D82E1E7E1F7}"/>
              </a:ext>
            </a:extLst>
          </p:cNvPr>
          <p:cNvCxnSpPr>
            <a:cxnSpLocks/>
          </p:cNvCxnSpPr>
          <p:nvPr/>
        </p:nvCxnSpPr>
        <p:spPr>
          <a:xfrm flipH="1">
            <a:off x="5291999" y="3416482"/>
            <a:ext cx="646978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</a:ln>
          <a:effectLst/>
        </p:spPr>
      </p:cxnSp>
      <p:cxnSp>
        <p:nvCxnSpPr>
          <p:cNvPr id="29" name="Straight Connector 19">
            <a:extLst>
              <a:ext uri="{FF2B5EF4-FFF2-40B4-BE49-F238E27FC236}">
                <a16:creationId xmlns:a16="http://schemas.microsoft.com/office/drawing/2014/main" id="{2CDC70A0-9D97-B34B-3630-D0F42DE3791F}"/>
              </a:ext>
            </a:extLst>
          </p:cNvPr>
          <p:cNvCxnSpPr>
            <a:cxnSpLocks/>
          </p:cNvCxnSpPr>
          <p:nvPr/>
        </p:nvCxnSpPr>
        <p:spPr>
          <a:xfrm flipH="1">
            <a:off x="5291999" y="4980217"/>
            <a:ext cx="646978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</a:ln>
          <a:effectLst/>
        </p:spPr>
      </p:cxnSp>
      <p:sp>
        <p:nvSpPr>
          <p:cNvPr id="36" name="Rectangle 9">
            <a:extLst>
              <a:ext uri="{FF2B5EF4-FFF2-40B4-BE49-F238E27FC236}">
                <a16:creationId xmlns:a16="http://schemas.microsoft.com/office/drawing/2014/main" id="{396153C2-9CFF-7084-0017-FC7314F24827}"/>
              </a:ext>
            </a:extLst>
          </p:cNvPr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36961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Paste image</a:t>
            </a:r>
            <a:endParaRPr lang="en-GB" sz="1400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36961" algn="l"/>
              </a:tabLst>
              <a:defRPr/>
            </a:pPr>
            <a:r>
              <a:rPr lang="en-GB" sz="1400" dirty="0">
                <a:sym typeface="Arial" panose="020B0604020202020204" pitchFamily="34" charset="0"/>
              </a:rPr>
              <a:t>Copy image from external source with </a:t>
            </a:r>
            <a:r>
              <a:rPr lang="en-GB" sz="1400" dirty="0" err="1">
                <a:sym typeface="Arial" panose="020B0604020202020204" pitchFamily="34" charset="0"/>
              </a:rPr>
              <a:t>Ctrl+C</a:t>
            </a:r>
            <a:r>
              <a:rPr lang="en-GB" sz="1400" dirty="0">
                <a:sym typeface="Arial" panose="020B0604020202020204" pitchFamily="34" charset="0"/>
              </a:rPr>
              <a:t> and paste with </a:t>
            </a:r>
            <a:r>
              <a:rPr lang="en-GB" sz="1400" dirty="0" err="1">
                <a:sym typeface="Arial" panose="020B0604020202020204" pitchFamily="34" charset="0"/>
              </a:rPr>
              <a:t>Ctrl+V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Rectangle 9">
            <a:extLst>
              <a:ext uri="{FF2B5EF4-FFF2-40B4-BE49-F238E27FC236}">
                <a16:creationId xmlns:a16="http://schemas.microsoft.com/office/drawing/2014/main" id="{8E2A294D-7376-56FC-81C4-07DAEAEC2652}"/>
              </a:ext>
            </a:extLst>
          </p:cNvPr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36961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djust size &amp; determine image area:</a:t>
            </a:r>
            <a:endParaRPr lang="en-GB" sz="1400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Place image behind image mask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djust image size and determine image area</a:t>
            </a: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2368E7CE-E972-8CD8-6BF8-D06F6F14C013}"/>
              </a:ext>
            </a:extLst>
          </p:cNvPr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36961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rop image to image mask</a:t>
            </a:r>
            <a:endParaRPr lang="en-GB" sz="1400" b="1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Select image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Select image mask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lick in the tab «Shape Format /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Merge Shapes» on «Intersect»</a:t>
            </a:r>
          </a:p>
        </p:txBody>
      </p:sp>
      <p:sp>
        <p:nvSpPr>
          <p:cNvPr id="39" name="Rectangle 9">
            <a:extLst>
              <a:ext uri="{FF2B5EF4-FFF2-40B4-BE49-F238E27FC236}">
                <a16:creationId xmlns:a16="http://schemas.microsoft.com/office/drawing/2014/main" id="{F0EDA22B-8E7D-E351-F670-CD080A61EAE7}"/>
              </a:ext>
            </a:extLst>
          </p:cNvPr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47533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ombine image with mock-up</a:t>
            </a:r>
            <a:endParaRPr lang="en-GB" sz="1400" b="1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47533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Place image behind mock-up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47533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ctivate image and mock-up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nd align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both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horizontally (Align Center) and vertically (Align Middle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47533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Group image and mock-up with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trl+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hteck 7">
            <a:extLst>
              <a:ext uri="{FF2B5EF4-FFF2-40B4-BE49-F238E27FC236}">
                <a16:creationId xmlns:a16="http://schemas.microsoft.com/office/drawing/2014/main" id="{D24EEAA8-773C-A8FE-249D-B39010194D79}"/>
              </a:ext>
            </a:extLst>
          </p:cNvPr>
          <p:cNvSpPr>
            <a:spLocks noChangeAspect="1"/>
          </p:cNvSpPr>
          <p:nvPr/>
        </p:nvSpPr>
        <p:spPr>
          <a:xfrm>
            <a:off x="10443538" y="2486085"/>
            <a:ext cx="370891" cy="792000"/>
          </a:xfrm>
          <a:prstGeom prst="roundRect">
            <a:avLst/>
          </a:prstGeom>
          <a:solidFill>
            <a:schemeClr val="accent1">
              <a:alpha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95883" rIns="0" bIns="958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mage mask</a:t>
            </a:r>
          </a:p>
        </p:txBody>
      </p:sp>
      <p:sp>
        <p:nvSpPr>
          <p:cNvPr id="18" name="Rechteck 7">
            <a:extLst>
              <a:ext uri="{FF2B5EF4-FFF2-40B4-BE49-F238E27FC236}">
                <a16:creationId xmlns:a16="http://schemas.microsoft.com/office/drawing/2014/main" id="{2DE11960-C79E-3D98-1C2D-9570CE33478F}"/>
              </a:ext>
            </a:extLst>
          </p:cNvPr>
          <p:cNvSpPr/>
          <p:nvPr/>
        </p:nvSpPr>
        <p:spPr>
          <a:xfrm>
            <a:off x="645891" y="1901419"/>
            <a:ext cx="1106662" cy="2373969"/>
          </a:xfrm>
          <a:prstGeom prst="roundRect">
            <a:avLst/>
          </a:prstGeom>
          <a:solidFill>
            <a:schemeClr val="accent1">
              <a:alpha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43823" tIns="95883" rIns="143823" bIns="958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mage mask</a:t>
            </a:r>
          </a:p>
        </p:txBody>
      </p:sp>
      <p:pic>
        <p:nvPicPr>
          <p:cNvPr id="15" name="Grafik 6">
            <a:extLst>
              <a:ext uri="{FF2B5EF4-FFF2-40B4-BE49-F238E27FC236}">
                <a16:creationId xmlns:a16="http://schemas.microsoft.com/office/drawing/2014/main" id="{D8D979F6-F045-5158-1F9A-D91FE91F40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999" y="1533833"/>
            <a:ext cx="1198365" cy="2426504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F7B04AB5-A7EC-B759-4884-AB565B1EA59B}"/>
              </a:ext>
            </a:extLst>
          </p:cNvPr>
          <p:cNvGrpSpPr>
            <a:grpSpLocks noChangeAspect="1"/>
          </p:cNvGrpSpPr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2" name="Picture Placeholder 7">
              <a:extLst>
                <a:ext uri="{FF2B5EF4-FFF2-40B4-BE49-F238E27FC236}">
                  <a16:creationId xmlns:a16="http://schemas.microsoft.com/office/drawing/2014/main" id="{BE709E8D-C0D8-2B6E-8381-BEBBE915C1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2681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/>
            </a:prstGeom>
          </p:spPr>
        </p:pic>
        <p:pic>
          <p:nvPicPr>
            <p:cNvPr id="16" name="Grafik 6">
              <a:extLst>
                <a:ext uri="{FF2B5EF4-FFF2-40B4-BE49-F238E27FC236}">
                  <a16:creationId xmlns:a16="http://schemas.microsoft.com/office/drawing/2014/main" id="{A4FDA358-1780-99E0-2737-E56C3A579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</p:spPr>
        </p:pic>
      </p:grpSp>
      <p:pic>
        <p:nvPicPr>
          <p:cNvPr id="32" name="Picture Placeholder 7">
            <a:extLst>
              <a:ext uri="{FF2B5EF4-FFF2-40B4-BE49-F238E27FC236}">
                <a16:creationId xmlns:a16="http://schemas.microsoft.com/office/drawing/2014/main" id="{9043C4E1-3D68-81E2-E1BD-7517666D04C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2681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/>
          </a:prstGeom>
        </p:spPr>
      </p:pic>
      <p:cxnSp>
        <p:nvCxnSpPr>
          <p:cNvPr id="51" name="Gerade Verbindung mit Pfeil 94">
            <a:extLst>
              <a:ext uri="{FF2B5EF4-FFF2-40B4-BE49-F238E27FC236}">
                <a16:creationId xmlns:a16="http://schemas.microsoft.com/office/drawing/2014/main" id="{83C441EF-8FC1-8E1C-3378-18F028D8DD6C}"/>
              </a:ext>
            </a:extLst>
          </p:cNvPr>
          <p:cNvCxnSpPr>
            <a:cxnSpLocks/>
          </p:cNvCxnSpPr>
          <p:nvPr/>
        </p:nvCxnSpPr>
        <p:spPr bwMode="auto">
          <a:xfrm>
            <a:off x="1630364" y="1747178"/>
            <a:ext cx="346110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E077136-A359-6834-4D96-10A159D068E2}"/>
              </a:ext>
            </a:extLst>
          </p:cNvPr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>
                <a:cs typeface="Arial" panose="020B0604020202020204" pitchFamily="34" charset="0"/>
                <a:sym typeface="Arial" panose="020B0604020202020204" pitchFamily="34" charset="0"/>
              </a:rPr>
              <a:t>Mock-up</a:t>
            </a:r>
            <a:endParaRPr lang="en-GB" sz="1400" dirty="0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A1B78AA-B442-4E80-D98B-0E25A8166C8D}"/>
              </a:ext>
            </a:extLst>
          </p:cNvPr>
          <p:cNvGrpSpPr>
            <a:grpSpLocks noChangeAspect="1"/>
          </p:cNvGrpSpPr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81DEFC94-AAB5-D9D2-60CE-3FBE823E7F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>
                <a:gd name="connsiteX0" fmla="*/ 326940 w 1961601"/>
                <a:gd name="connsiteY0" fmla="*/ 0 h 4207952"/>
                <a:gd name="connsiteX1" fmla="*/ 1634661 w 1961601"/>
                <a:gd name="connsiteY1" fmla="*/ 0 h 4207952"/>
                <a:gd name="connsiteX2" fmla="*/ 1961601 w 1961601"/>
                <a:gd name="connsiteY2" fmla="*/ 326940 h 4207952"/>
                <a:gd name="connsiteX3" fmla="*/ 1961601 w 1961601"/>
                <a:gd name="connsiteY3" fmla="*/ 3881012 h 4207952"/>
                <a:gd name="connsiteX4" fmla="*/ 1634661 w 1961601"/>
                <a:gd name="connsiteY4" fmla="*/ 4207952 h 4207952"/>
                <a:gd name="connsiteX5" fmla="*/ 326940 w 1961601"/>
                <a:gd name="connsiteY5" fmla="*/ 4207952 h 4207952"/>
                <a:gd name="connsiteX6" fmla="*/ 0 w 1961601"/>
                <a:gd name="connsiteY6" fmla="*/ 3881012 h 4207952"/>
                <a:gd name="connsiteX7" fmla="*/ 0 w 1961601"/>
                <a:gd name="connsiteY7" fmla="*/ 326940 h 4207952"/>
                <a:gd name="connsiteX8" fmla="*/ 326940 w 1961601"/>
                <a:gd name="connsiteY8" fmla="*/ 0 h 420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1601" h="4207952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</p:spPr>
        </p:pic>
        <p:pic>
          <p:nvPicPr>
            <p:cNvPr id="56" name="Grafik 6">
              <a:extLst>
                <a:ext uri="{FF2B5EF4-FFF2-40B4-BE49-F238E27FC236}">
                  <a16:creationId xmlns:a16="http://schemas.microsoft.com/office/drawing/2014/main" id="{2C9FC6E7-1D13-39D2-84C4-550EE3AD7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A5C1531B-FCF3-8E1D-042D-E9954237695D}"/>
              </a:ext>
            </a:extLst>
          </p:cNvPr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83" name="Gerade Verbindung mit Pfeil 94">
              <a:extLst>
                <a:ext uri="{FF2B5EF4-FFF2-40B4-BE49-F238E27FC236}">
                  <a16:creationId xmlns:a16="http://schemas.microsoft.com/office/drawing/2014/main" id="{26F29021-FD09-B4A8-3ACD-8752751386F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199222" y="5015253"/>
              <a:ext cx="1140370" cy="0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mit Pfeil 94">
              <a:extLst>
                <a:ext uri="{FF2B5EF4-FFF2-40B4-BE49-F238E27FC236}">
                  <a16:creationId xmlns:a16="http://schemas.microsoft.com/office/drawing/2014/main" id="{27A77CE4-F956-1E37-E57F-8438430DC90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99222" y="4392591"/>
              <a:ext cx="0" cy="622662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950D15-1331-B991-B353-3483937BEA99}"/>
              </a:ext>
            </a:extLst>
          </p:cNvPr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A50ACF0-5087-7B3C-B1C4-5E284080521D}"/>
                </a:ext>
              </a:extLst>
            </p:cNvPr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C50CE52-03F9-1A9E-66AC-3D2069DE1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7BED565-EB24-F063-AA98-86FCE2BFC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</p:spPr>
        </p:pic>
        <p:sp>
          <p:nvSpPr>
            <p:cNvPr id="35" name="Rechteck 38">
              <a:extLst>
                <a:ext uri="{FF2B5EF4-FFF2-40B4-BE49-F238E27FC236}">
                  <a16:creationId xmlns:a16="http://schemas.microsoft.com/office/drawing/2014/main" id="{B11CA7EB-EB7B-E08E-AB44-522BF86322D6}"/>
                </a:ext>
              </a:extLst>
            </p:cNvPr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4F2FEB1-9330-2349-1331-9186C63905F0}"/>
              </a:ext>
            </a:extLst>
          </p:cNvPr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EEBA11-B7F1-E763-C457-2B7D23AE0062}"/>
                </a:ext>
              </a:extLst>
            </p:cNvPr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6C68DA2-ECEC-B04C-6E86-A17C7B784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8B6FE052-9742-C43F-AF83-14C3AD8CF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</p:spPr>
        </p:pic>
        <p:sp>
          <p:nvSpPr>
            <p:cNvPr id="23" name="Rechteck 38">
              <a:extLst>
                <a:ext uri="{FF2B5EF4-FFF2-40B4-BE49-F238E27FC236}">
                  <a16:creationId xmlns:a16="http://schemas.microsoft.com/office/drawing/2014/main" id="{816BE51F-3CE6-E987-40F9-82C2B96B43EE}"/>
                </a:ext>
              </a:extLst>
            </p:cNvPr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EA17F711-3B1B-E9E5-4EBB-63A779C85849}"/>
                </a:ext>
              </a:extLst>
            </p:cNvPr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" name="Rechteck 38">
              <a:extLst>
                <a:ext uri="{FF2B5EF4-FFF2-40B4-BE49-F238E27FC236}">
                  <a16:creationId xmlns:a16="http://schemas.microsoft.com/office/drawing/2014/main" id="{DD7A323E-BF63-ACC2-3AEE-D936348AAC22}"/>
                </a:ext>
              </a:extLst>
            </p:cNvPr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883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</a:rPr>
              <a:t>Style guide</a:t>
            </a:r>
          </a:p>
        </p:txBody>
      </p:sp>
    </p:spTree>
    <p:extLst>
      <p:ext uri="{BB962C8B-B14F-4D97-AF65-F5344CB8AC3E}">
        <p14:creationId xmlns:p14="http://schemas.microsoft.com/office/powerpoint/2010/main" val="92943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9D08D-C681-621B-6D02-D7C86EB2F5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7440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9D08D-C681-621B-6D02-D7C86E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1FF8F91-8C3E-7BFB-9163-B0E6EABC4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Working area</a:t>
            </a:r>
            <a:r>
              <a:rPr lang="en-GB" noProof="0"/>
              <a:t>, </a:t>
            </a:r>
            <a:r>
              <a:rPr lang="en-GB"/>
              <a:t>g</a:t>
            </a:r>
            <a:r>
              <a:rPr lang="en-GB" noProof="0"/>
              <a:t>uides &amp; ruler</a:t>
            </a:r>
            <a:endParaRPr lang="en-GB" noProof="0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859A658-FA2C-441F-9AC0-F0763B21CF9F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4000" tIns="144000" rIns="96000" bIns="192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6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914377">
              <a:spcAft>
                <a:spcPts val="1600"/>
              </a:spcAft>
            </a:pPr>
            <a:r>
              <a:rPr lang="en-GB" sz="2133" b="1" kern="1200" spc="40">
                <a:solidFill>
                  <a:schemeClr val="bg1"/>
                </a:solidFill>
                <a:cs typeface="Arial" panose="020B0604020202020204" pitchFamily="34" charset="0"/>
              </a:rPr>
              <a:t>Working area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epending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on the slide, a single-column layout, a 2-column o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3-column layout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is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used.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isplay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the rule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and guides in the «View» tab.</a:t>
            </a:r>
            <a:endParaRPr lang="en-GB" sz="1600" spc="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EB0714-12EE-D97E-695E-BE2966E5ABE5}"/>
              </a:ext>
            </a:extLst>
          </p:cNvPr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3A2537B-5236-BFB7-524B-3DD23CA1D74E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549111-AD4A-25EE-FEA6-1D3C1F65BD7A}"/>
                </a:ext>
              </a:extLst>
            </p:cNvPr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F1C3658-97D3-6C00-6DC2-87EDE705B797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821C4F-C692-C769-6EE4-AD9813E0348E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240FAE6-6894-6C69-99D2-BDAC4339C6F3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DBA0B-E746-CAE6-975E-43D1E6235A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2D66D57-D844-B480-F979-237BC7823C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062FD7F-DADE-BEC2-CD6B-ED07736397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812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E5E1F5C-E147-8C16-63FD-670A0D26408C}"/>
              </a:ext>
            </a:extLst>
          </p:cNvPr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24EB346B-274E-5F9D-8604-2205CD31C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C0BD55B-7C6D-BB9B-5A38-A4296BBB37DC}"/>
                </a:ext>
              </a:extLst>
            </p:cNvPr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D61FFEA-F3D5-1807-0602-F9F910FB12AE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CF7231E-26CA-B590-5767-023691840C6D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C365974E-EBB9-DAC7-C321-409C3A45B35B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1F6BEA7-3B6E-D548-FF6A-DBB5B30598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04D7ED54-7F91-5F11-03C3-C75492403F4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2ABAD1-3281-E374-C681-8A6448CCE9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14045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589A4CA-E388-F4FA-481A-2E910C5909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69463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5080682-2C00-78A6-D1AA-AEC9A8A74F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7507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A9BEFB6-752E-7370-27FD-8C26383E19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43261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B26F25-DCAD-B756-ABB6-72F3DFC98C38}"/>
              </a:ext>
            </a:extLst>
          </p:cNvPr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F54B766-9C28-2E6D-19EE-02A2A80C12A8}"/>
                </a:ext>
              </a:extLst>
            </p:cNvPr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EBB7C30-08ED-50E3-7360-901FFA152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</p:spPr>
        </p:pic>
        <p:sp>
          <p:nvSpPr>
            <p:cNvPr id="37" name="Rechteck 39">
              <a:extLst>
                <a:ext uri="{FF2B5EF4-FFF2-40B4-BE49-F238E27FC236}">
                  <a16:creationId xmlns:a16="http://schemas.microsoft.com/office/drawing/2014/main" id="{B151FE23-F8EB-4345-9784-8F88742DF4F8}"/>
                </a:ext>
              </a:extLst>
            </p:cNvPr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622FA0D9-AA97-D2D3-0906-B31FB1D2BC0C}"/>
                </a:ext>
              </a:extLst>
            </p:cNvPr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8" name="Rechteck 38">
              <a:extLst>
                <a:ext uri="{FF2B5EF4-FFF2-40B4-BE49-F238E27FC236}">
                  <a16:creationId xmlns:a16="http://schemas.microsoft.com/office/drawing/2014/main" id="{663C73C9-21C2-3246-C3C8-54C015D2FCC1}"/>
                </a:ext>
              </a:extLst>
            </p:cNvPr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54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5D1D3E-5F5F-6A74-49D1-7A46D4728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5D1D3E-5F5F-6A74-49D1-7A46D4728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2ACD15-79D2-1E7F-AC15-4CCE7313B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bbv colour theme</a:t>
            </a:r>
          </a:p>
        </p:txBody>
      </p:sp>
      <p:cxnSp>
        <p:nvCxnSpPr>
          <p:cNvPr id="24" name="Straight Connector 26">
            <a:extLst>
              <a:ext uri="{FF2B5EF4-FFF2-40B4-BE49-F238E27FC236}">
                <a16:creationId xmlns:a16="http://schemas.microsoft.com/office/drawing/2014/main" id="{3502B8B4-5563-855A-290D-8B551332CFF4}"/>
              </a:ext>
            </a:extLst>
          </p:cNvPr>
          <p:cNvCxnSpPr>
            <a:cxnSpLocks/>
          </p:cNvCxnSpPr>
          <p:nvPr/>
        </p:nvCxnSpPr>
        <p:spPr>
          <a:xfrm>
            <a:off x="4456762" y="2173030"/>
            <a:ext cx="0" cy="4254758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1070854-6963-DEFB-F539-1E959A27C1EE}"/>
              </a:ext>
            </a:extLst>
          </p:cNvPr>
          <p:cNvSpPr txBox="1">
            <a:spLocks/>
          </p:cNvSpPr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Main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accent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BF297A7F-6349-4515-A106-11D80EA77376}"/>
              </a:ext>
            </a:extLst>
          </p:cNvPr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542073DE-1986-A9FF-D88E-7B72D00769F0}"/>
              </a:ext>
            </a:extLst>
          </p:cNvPr>
          <p:cNvSpPr>
            <a:spLocks/>
          </p:cNvSpPr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12">
            <a:extLst>
              <a:ext uri="{FF2B5EF4-FFF2-40B4-BE49-F238E27FC236}">
                <a16:creationId xmlns:a16="http://schemas.microsoft.com/office/drawing/2014/main" id="{6267D1A1-B1A6-8DFE-0C1F-9FADCE012A0B}"/>
              </a:ext>
            </a:extLst>
          </p:cNvPr>
          <p:cNvSpPr>
            <a:spLocks/>
          </p:cNvSpPr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6B698BE-5FFE-365B-EE0B-61C783F93716}"/>
              </a:ext>
            </a:extLst>
          </p:cNvPr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B4482B20-22EB-AFBD-A517-E90318FF330F}"/>
              </a:ext>
            </a:extLst>
          </p:cNvPr>
          <p:cNvSpPr>
            <a:spLocks/>
          </p:cNvSpPr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Rectangle 16">
            <a:extLst>
              <a:ext uri="{FF2B5EF4-FFF2-40B4-BE49-F238E27FC236}">
                <a16:creationId xmlns:a16="http://schemas.microsoft.com/office/drawing/2014/main" id="{3FCA52B9-2683-2430-5EAE-7CBE386D5ECF}"/>
              </a:ext>
            </a:extLst>
          </p:cNvPr>
          <p:cNvSpPr>
            <a:spLocks/>
          </p:cNvSpPr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6FC59556-31EC-322A-94B7-01F06801B3BE}"/>
              </a:ext>
            </a:extLst>
          </p:cNvPr>
          <p:cNvSpPr>
            <a:spLocks/>
          </p:cNvSpPr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D82BD4E-4B06-B5BD-7E1B-F8065FC0B380}"/>
              </a:ext>
            </a:extLst>
          </p:cNvPr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BDD07FB3-1A6F-4329-4EEB-51F3AF841F8B}"/>
              </a:ext>
            </a:extLst>
          </p:cNvPr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3037C319-F1F5-AA2C-867D-9EDCED62CE4E}"/>
              </a:ext>
            </a:extLst>
          </p:cNvPr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6CB15D7-FCA5-7B38-1136-3C6AAE9D6BCA}"/>
              </a:ext>
            </a:extLst>
          </p:cNvPr>
          <p:cNvGrpSpPr/>
          <p:nvPr/>
        </p:nvGrpSpPr>
        <p:grpSpPr>
          <a:xfrm>
            <a:off x="6869090" y="2885608"/>
            <a:ext cx="602764" cy="217375"/>
            <a:chOff x="4697470" y="3209372"/>
            <a:chExt cx="433615" cy="163031"/>
          </a:xfrm>
        </p:grpSpPr>
        <p:cxnSp>
          <p:nvCxnSpPr>
            <p:cNvPr id="63" name="Gerader Verbinder 50">
              <a:extLst>
                <a:ext uri="{FF2B5EF4-FFF2-40B4-BE49-F238E27FC236}">
                  <a16:creationId xmlns:a16="http://schemas.microsoft.com/office/drawing/2014/main" id="{30147869-7ACF-36DB-4F1A-F1241569DD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55">
              <a:extLst>
                <a:ext uri="{FF2B5EF4-FFF2-40B4-BE49-F238E27FC236}">
                  <a16:creationId xmlns:a16="http://schemas.microsoft.com/office/drawing/2014/main" id="{D27EBFFB-9E9E-055D-004F-E654BC243CE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8457190-0A22-6AE7-0613-EAFB0E4EDA7A}"/>
              </a:ext>
            </a:extLst>
          </p:cNvPr>
          <p:cNvSpPr txBox="1">
            <a:spLocks/>
          </p:cNvSpPr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226714" sx="101000" sy="101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t"/>
          <a:lstStyle>
            <a:defPPr>
              <a:defRPr lang="en-US"/>
            </a:defPPr>
            <a:lvl1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 kumimoji="0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7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5"/>
            <a:endParaRPr lang="en-GB"/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DDF9E67B-364E-CE6C-EB0C-B76C55340C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10" y="2406096"/>
            <a:ext cx="1966241" cy="141323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CCE4E69-5EEE-9D0E-B04E-7285D2BB5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EBFAB6F1-F8A0-F09B-1743-2517E56AFD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45661B9B-D5E3-182F-E947-D0128C0AA7E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71BB6457-5525-9629-8AB0-65A18A235CBC}"/>
              </a:ext>
            </a:extLst>
          </p:cNvPr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85" name="Freihandform: Form 52">
              <a:extLst>
                <a:ext uri="{FF2B5EF4-FFF2-40B4-BE49-F238E27FC236}">
                  <a16:creationId xmlns:a16="http://schemas.microsoft.com/office/drawing/2014/main" id="{A25499F5-432B-5786-1DDB-D6E7665566EA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86" name="Straight Connector 83">
              <a:extLst>
                <a:ext uri="{FF2B5EF4-FFF2-40B4-BE49-F238E27FC236}">
                  <a16:creationId xmlns:a16="http://schemas.microsoft.com/office/drawing/2014/main" id="{8F2EF6F2-A981-4FA6-9F40-1344865D464D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" name="Straight Connector 84">
              <a:extLst>
                <a:ext uri="{FF2B5EF4-FFF2-40B4-BE49-F238E27FC236}">
                  <a16:creationId xmlns:a16="http://schemas.microsoft.com/office/drawing/2014/main" id="{7AED2BEF-C789-80A3-D9F1-69583B999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6210D49-14BB-7F13-F155-DA8F8436C939}"/>
              </a:ext>
            </a:extLst>
          </p:cNvPr>
          <p:cNvSpPr txBox="1">
            <a:spLocks/>
          </p:cNvSpPr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Always OK!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0F98E6AA-04F9-D5A2-B375-3E8470C5243D}"/>
              </a:ext>
            </a:extLst>
          </p:cNvPr>
          <p:cNvSpPr txBox="1">
            <a:spLocks/>
          </p:cNvSpPr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ECE9CF5B-EFB5-798A-FA72-10A3A4BB1176}"/>
              </a:ext>
            </a:extLst>
          </p:cNvPr>
          <p:cNvSpPr txBox="1">
            <a:spLocks/>
          </p:cNvSpPr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rgbClr val="E30613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ECAFE4-B27A-4EB0-98FD-87F06435B6D5}"/>
              </a:ext>
            </a:extLst>
          </p:cNvPr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93" name="Gerader Verbinder 50">
              <a:extLst>
                <a:ext uri="{FF2B5EF4-FFF2-40B4-BE49-F238E27FC236}">
                  <a16:creationId xmlns:a16="http://schemas.microsoft.com/office/drawing/2014/main" id="{EDE750EE-4DE6-2F33-2CC5-A01970DC65A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55">
              <a:extLst>
                <a:ext uri="{FF2B5EF4-FFF2-40B4-BE49-F238E27FC236}">
                  <a16:creationId xmlns:a16="http://schemas.microsoft.com/office/drawing/2014/main" id="{31572E6B-0791-A08D-8B8C-A17A1B26264E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9E5EEA2-546B-1754-01C2-57FB7D291A62}"/>
              </a:ext>
            </a:extLst>
          </p:cNvPr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96" name="Gerader Verbinder 50">
              <a:extLst>
                <a:ext uri="{FF2B5EF4-FFF2-40B4-BE49-F238E27FC236}">
                  <a16:creationId xmlns:a16="http://schemas.microsoft.com/office/drawing/2014/main" id="{74BDB173-1196-C9FB-BCF7-4B86D4738F9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55">
              <a:extLst>
                <a:ext uri="{FF2B5EF4-FFF2-40B4-BE49-F238E27FC236}">
                  <a16:creationId xmlns:a16="http://schemas.microsoft.com/office/drawing/2014/main" id="{3808B50C-4300-D802-95A5-A5810673A49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66822E5-DF56-E7DE-D31C-B43518D4FABA}"/>
              </a:ext>
            </a:extLst>
          </p:cNvPr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99" name="Gerader Verbinder 50">
              <a:extLst>
                <a:ext uri="{FF2B5EF4-FFF2-40B4-BE49-F238E27FC236}">
                  <a16:creationId xmlns:a16="http://schemas.microsoft.com/office/drawing/2014/main" id="{485F3C5D-B2EA-4B74-1C8A-06496510119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55">
              <a:extLst>
                <a:ext uri="{FF2B5EF4-FFF2-40B4-BE49-F238E27FC236}">
                  <a16:creationId xmlns:a16="http://schemas.microsoft.com/office/drawing/2014/main" id="{530E4814-67A8-7DA0-7DB5-C01459CD64F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51012E29-560A-2C9A-86C0-7A82533C9733}"/>
              </a:ext>
            </a:extLst>
          </p:cNvPr>
          <p:cNvSpPr txBox="1">
            <a:spLocks/>
          </p:cNvSpPr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Use selectively and sparingly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8F7C882-5ABD-34C2-BC1F-56F5B5EB2173}"/>
              </a:ext>
            </a:extLst>
          </p:cNvPr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03" name="Gerader Verbinder 50">
              <a:extLst>
                <a:ext uri="{FF2B5EF4-FFF2-40B4-BE49-F238E27FC236}">
                  <a16:creationId xmlns:a16="http://schemas.microsoft.com/office/drawing/2014/main" id="{FAD3B513-9C70-4309-DDAB-97AEA5664F2B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55">
              <a:extLst>
                <a:ext uri="{FF2B5EF4-FFF2-40B4-BE49-F238E27FC236}">
                  <a16:creationId xmlns:a16="http://schemas.microsoft.com/office/drawing/2014/main" id="{6514E2ED-EE9C-DEA0-8858-8FF7A4F20EA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3">
            <a:extLst>
              <a:ext uri="{FF2B5EF4-FFF2-40B4-BE49-F238E27FC236}">
                <a16:creationId xmlns:a16="http://schemas.microsoft.com/office/drawing/2014/main" id="{51FD5E8D-50C8-0214-07C0-E88F5193972D}"/>
              </a:ext>
            </a:extLst>
          </p:cNvPr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tangle 13">
            <a:extLst>
              <a:ext uri="{FF2B5EF4-FFF2-40B4-BE49-F238E27FC236}">
                <a16:creationId xmlns:a16="http://schemas.microsoft.com/office/drawing/2014/main" id="{B910C4A2-8082-C66C-B60B-356C1B3BA384}"/>
              </a:ext>
            </a:extLst>
          </p:cNvPr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Rectangle 13">
            <a:extLst>
              <a:ext uri="{FF2B5EF4-FFF2-40B4-BE49-F238E27FC236}">
                <a16:creationId xmlns:a16="http://schemas.microsoft.com/office/drawing/2014/main" id="{150547F5-511E-6DEB-C27B-1C31F97F7F1E}"/>
              </a:ext>
            </a:extLst>
          </p:cNvPr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Rectangle 13">
            <a:extLst>
              <a:ext uri="{FF2B5EF4-FFF2-40B4-BE49-F238E27FC236}">
                <a16:creationId xmlns:a16="http://schemas.microsoft.com/office/drawing/2014/main" id="{EBACE547-7889-B6F1-D9BA-137E4A5EF8FD}"/>
              </a:ext>
            </a:extLst>
          </p:cNvPr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3">
            <a:extLst>
              <a:ext uri="{FF2B5EF4-FFF2-40B4-BE49-F238E27FC236}">
                <a16:creationId xmlns:a16="http://schemas.microsoft.com/office/drawing/2014/main" id="{8B43B5C9-F01E-FEBE-FDF0-D982DE368DB1}"/>
              </a:ext>
            </a:extLst>
          </p:cNvPr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3">
            <a:extLst>
              <a:ext uri="{FF2B5EF4-FFF2-40B4-BE49-F238E27FC236}">
                <a16:creationId xmlns:a16="http://schemas.microsoft.com/office/drawing/2014/main" id="{D1378E0E-9B46-AEBD-C505-68933B206E88}"/>
              </a:ext>
            </a:extLst>
          </p:cNvPr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Rectangle 13">
            <a:extLst>
              <a:ext uri="{FF2B5EF4-FFF2-40B4-BE49-F238E27FC236}">
                <a16:creationId xmlns:a16="http://schemas.microsoft.com/office/drawing/2014/main" id="{451F5D7D-B94C-FD58-88F8-2DBD6FC14579}"/>
              </a:ext>
            </a:extLst>
          </p:cNvPr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192DD3D-9D20-33DD-EF53-671B1D4FD254}"/>
              </a:ext>
            </a:extLst>
          </p:cNvPr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1D30DE6E-5812-98E8-D99D-9648BADD237B}"/>
              </a:ext>
            </a:extLst>
          </p:cNvPr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FA7B3943-F038-CA00-3C53-733F000A9E23}"/>
              </a:ext>
            </a:extLst>
          </p:cNvPr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3309A3D7-1AB6-8320-7E8A-569550981B18}"/>
              </a:ext>
            </a:extLst>
          </p:cNvPr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Rectangle 13">
            <a:extLst>
              <a:ext uri="{FF2B5EF4-FFF2-40B4-BE49-F238E27FC236}">
                <a16:creationId xmlns:a16="http://schemas.microsoft.com/office/drawing/2014/main" id="{9F9F5759-61B0-D2B5-7320-4F312FC09F2D}"/>
              </a:ext>
            </a:extLst>
          </p:cNvPr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5EB4BF0A-245A-5F4A-3355-3FCA4900372F}"/>
              </a:ext>
            </a:extLst>
          </p:cNvPr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Rectangle 13">
            <a:extLst>
              <a:ext uri="{FF2B5EF4-FFF2-40B4-BE49-F238E27FC236}">
                <a16:creationId xmlns:a16="http://schemas.microsoft.com/office/drawing/2014/main" id="{C73A4148-9091-3925-BE1D-CD8A6103DEA6}"/>
              </a:ext>
            </a:extLst>
          </p:cNvPr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Rectangle 13">
            <a:extLst>
              <a:ext uri="{FF2B5EF4-FFF2-40B4-BE49-F238E27FC236}">
                <a16:creationId xmlns:a16="http://schemas.microsoft.com/office/drawing/2014/main" id="{2B1FDD87-ECDA-8D57-EBCC-D6FAF2A4D1C9}"/>
              </a:ext>
            </a:extLst>
          </p:cNvPr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Rectangle 13">
            <a:extLst>
              <a:ext uri="{FF2B5EF4-FFF2-40B4-BE49-F238E27FC236}">
                <a16:creationId xmlns:a16="http://schemas.microsoft.com/office/drawing/2014/main" id="{25705B44-E0B5-9879-B387-03B2BE3102D7}"/>
              </a:ext>
            </a:extLst>
          </p:cNvPr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3" name="Gerader Verbinder 55">
            <a:extLst>
              <a:ext uri="{FF2B5EF4-FFF2-40B4-BE49-F238E27FC236}">
                <a16:creationId xmlns:a16="http://schemas.microsoft.com/office/drawing/2014/main" id="{CFCBA94C-FC38-CE9C-41A0-C5908E2D9655}"/>
              </a:ext>
            </a:extLst>
          </p:cNvPr>
          <p:cNvCxnSpPr>
            <a:cxnSpLocks/>
          </p:cNvCxnSpPr>
          <p:nvPr/>
        </p:nvCxnSpPr>
        <p:spPr>
          <a:xfrm>
            <a:off x="4761918" y="3930778"/>
            <a:ext cx="7001457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EE6A52-F216-23C3-6AFD-971FCA933401}"/>
              </a:ext>
            </a:extLst>
          </p:cNvPr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6" name="Freihandform: Form 52">
              <a:extLst>
                <a:ext uri="{FF2B5EF4-FFF2-40B4-BE49-F238E27FC236}">
                  <a16:creationId xmlns:a16="http://schemas.microsoft.com/office/drawing/2014/main" id="{4585181C-31FD-09CE-D61E-75D1706C9A89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7" name="Straight Connector 83">
              <a:extLst>
                <a:ext uri="{FF2B5EF4-FFF2-40B4-BE49-F238E27FC236}">
                  <a16:creationId xmlns:a16="http://schemas.microsoft.com/office/drawing/2014/main" id="{EDC2B575-4830-8434-3905-E0F5DB1DC31C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Straight Connector 84">
              <a:extLst>
                <a:ext uri="{FF2B5EF4-FFF2-40B4-BE49-F238E27FC236}">
                  <a16:creationId xmlns:a16="http://schemas.microsoft.com/office/drawing/2014/main" id="{A191FEA9-4A0A-0CE5-7391-BE35A4EEB2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223DC09-F700-31E4-06C5-E25DF1816809}"/>
              </a:ext>
            </a:extLst>
          </p:cNvPr>
          <p:cNvGrpSpPr/>
          <p:nvPr/>
        </p:nvGrpSpPr>
        <p:grpSpPr>
          <a:xfrm>
            <a:off x="4718717" y="2885608"/>
            <a:ext cx="1324291" cy="217375"/>
            <a:chOff x="4697470" y="3209372"/>
            <a:chExt cx="433615" cy="163031"/>
          </a:xfrm>
        </p:grpSpPr>
        <p:cxnSp>
          <p:nvCxnSpPr>
            <p:cNvPr id="10" name="Gerader Verbinder 50">
              <a:extLst>
                <a:ext uri="{FF2B5EF4-FFF2-40B4-BE49-F238E27FC236}">
                  <a16:creationId xmlns:a16="http://schemas.microsoft.com/office/drawing/2014/main" id="{56A5A444-97CF-7F26-68EA-2459C575EF7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55">
              <a:extLst>
                <a:ext uri="{FF2B5EF4-FFF2-40B4-BE49-F238E27FC236}">
                  <a16:creationId xmlns:a16="http://schemas.microsoft.com/office/drawing/2014/main" id="{05C42648-B69A-9C8C-4AB3-59DA8E276C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8F4B848-7960-23D8-0ABB-BBFAA9B958C3}"/>
              </a:ext>
            </a:extLst>
          </p:cNvPr>
          <p:cNvSpPr txBox="1">
            <a:spLocks/>
          </p:cNvSpPr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Default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text colour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F9FB28-DD36-CD66-4F6C-6ECF5833CF06}"/>
              </a:ext>
            </a:extLst>
          </p:cNvPr>
          <p:cNvSpPr txBox="1">
            <a:spLocks/>
          </p:cNvSpPr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45AFD1-1A2B-BDBA-675C-C4E2E0D0C654}"/>
              </a:ext>
            </a:extLst>
          </p:cNvPr>
          <p:cNvGrpSpPr/>
          <p:nvPr/>
        </p:nvGrpSpPr>
        <p:grpSpPr>
          <a:xfrm>
            <a:off x="7589112" y="2885608"/>
            <a:ext cx="4159413" cy="217375"/>
            <a:chOff x="4697470" y="3209372"/>
            <a:chExt cx="433615" cy="163031"/>
          </a:xfrm>
        </p:grpSpPr>
        <p:cxnSp>
          <p:nvCxnSpPr>
            <p:cNvPr id="16" name="Gerader Verbinder 50">
              <a:extLst>
                <a:ext uri="{FF2B5EF4-FFF2-40B4-BE49-F238E27FC236}">
                  <a16:creationId xmlns:a16="http://schemas.microsoft.com/office/drawing/2014/main" id="{B5796AB1-0417-5A31-3E74-378D8F723F3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5">
              <a:extLst>
                <a:ext uri="{FF2B5EF4-FFF2-40B4-BE49-F238E27FC236}">
                  <a16:creationId xmlns:a16="http://schemas.microsoft.com/office/drawing/2014/main" id="{62367B8C-6F81-F970-D1D7-9026EE55C27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036F5C-40DF-245B-2FCD-CDDC9AD1326A}"/>
              </a:ext>
            </a:extLst>
          </p:cNvPr>
          <p:cNvGrpSpPr/>
          <p:nvPr/>
        </p:nvGrpSpPr>
        <p:grpSpPr>
          <a:xfrm>
            <a:off x="4718717" y="5661456"/>
            <a:ext cx="2770131" cy="217375"/>
            <a:chOff x="4697470" y="3209372"/>
            <a:chExt cx="433615" cy="163031"/>
          </a:xfrm>
        </p:grpSpPr>
        <p:cxnSp>
          <p:nvCxnSpPr>
            <p:cNvPr id="21" name="Gerader Verbinder 50">
              <a:extLst>
                <a:ext uri="{FF2B5EF4-FFF2-40B4-BE49-F238E27FC236}">
                  <a16:creationId xmlns:a16="http://schemas.microsoft.com/office/drawing/2014/main" id="{27EE15C5-866E-FEA7-BBB4-8262523843D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5">
              <a:extLst>
                <a:ext uri="{FF2B5EF4-FFF2-40B4-BE49-F238E27FC236}">
                  <a16:creationId xmlns:a16="http://schemas.microsoft.com/office/drawing/2014/main" id="{EF5CBFAA-4917-9B46-C074-3E9F2A7CB69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C202630-7313-0A0D-AA0A-44CAB0F617DB}"/>
              </a:ext>
            </a:extLst>
          </p:cNvPr>
          <p:cNvSpPr txBox="1">
            <a:spLocks/>
          </p:cNvSpPr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410D9C1D-EE54-587E-C248-FFD4768EC955}"/>
              </a:ext>
            </a:extLst>
          </p:cNvPr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61434C17-6C71-1C53-AF95-ED465F241650}"/>
              </a:ext>
            </a:extLst>
          </p:cNvPr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305855F0-B05A-C770-32B9-EEA1771CCE59}"/>
              </a:ext>
            </a:extLst>
          </p:cNvPr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2D6057A9-B527-AC86-688D-F5142D6AC99E}"/>
              </a:ext>
            </a:extLst>
          </p:cNvPr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F47FB4-78BD-7901-6A97-EF2C8E1600AE}"/>
              </a:ext>
            </a:extLst>
          </p:cNvPr>
          <p:cNvGrpSpPr/>
          <p:nvPr/>
        </p:nvGrpSpPr>
        <p:grpSpPr>
          <a:xfrm>
            <a:off x="9015202" y="5661456"/>
            <a:ext cx="2770131" cy="217375"/>
            <a:chOff x="4697470" y="3209372"/>
            <a:chExt cx="433615" cy="163031"/>
          </a:xfrm>
        </p:grpSpPr>
        <p:cxnSp>
          <p:nvCxnSpPr>
            <p:cNvPr id="31" name="Gerader Verbinder 50">
              <a:extLst>
                <a:ext uri="{FF2B5EF4-FFF2-40B4-BE49-F238E27FC236}">
                  <a16:creationId xmlns:a16="http://schemas.microsoft.com/office/drawing/2014/main" id="{77A85FCE-E228-EDBF-29D6-6EBD87604CD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55">
              <a:extLst>
                <a:ext uri="{FF2B5EF4-FFF2-40B4-BE49-F238E27FC236}">
                  <a16:creationId xmlns:a16="http://schemas.microsoft.com/office/drawing/2014/main" id="{849A3294-B797-74D1-3EAB-2E19DFB6B1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8D97B61-61BB-F277-80B9-35F247DDB62B}"/>
              </a:ext>
            </a:extLst>
          </p:cNvPr>
          <p:cNvSpPr txBox="1">
            <a:spLocks/>
          </p:cNvSpPr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</p:spTree>
    <p:extLst>
      <p:ext uri="{BB962C8B-B14F-4D97-AF65-F5344CB8AC3E}">
        <p14:creationId xmlns:p14="http://schemas.microsoft.com/office/powerpoint/2010/main" val="405577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hat is Microsoft Lists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EA16DD-7C8C-FBD0-BCFE-2445D9FEB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669289" lvl="1" indent="-334645">
              <a:buFont typeface="Arial"/>
              <a:buChar char="•"/>
            </a:pPr>
            <a:r>
              <a:rPr lang="en-US" sz="1800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669289" lvl="1" indent="-334645">
              <a:buFont typeface="Arial"/>
              <a:buChar char="•"/>
            </a:pPr>
            <a:r>
              <a:rPr lang="en-US" sz="1800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669289" lvl="1" indent="-334645">
              <a:buFont typeface="Arial"/>
              <a:buChar char="•"/>
            </a:pPr>
            <a:r>
              <a:rPr lang="en-US" sz="1800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91E429-8CCA-C7E6-F0ED-D7B8C7260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pic>
        <p:nvPicPr>
          <p:cNvPr id="8" name="Picture Placeholder 8">
            <a:extLst>
              <a:ext uri="{FF2B5EF4-FFF2-40B4-BE49-F238E27FC236}">
                <a16:creationId xmlns:a16="http://schemas.microsoft.com/office/drawing/2014/main" id="{0DD85B56-0831-869D-A9E0-A11D04AFDB0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10" r="40464" b="-10"/>
          <a:stretch>
            <a:fillRect/>
          </a:stretch>
        </p:blipFill>
        <p:spPr>
          <a:xfrm>
            <a:off x="6096000" y="1098550"/>
            <a:ext cx="6096000" cy="5759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25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Key Functionalities</a:t>
            </a: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94C27A2-9E7D-0F48-69B2-48B8F2967CD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76" b="15732"/>
          <a:stretch>
            <a:fillRect/>
          </a:stretch>
        </p:blipFill>
        <p:spPr>
          <a:xfrm>
            <a:off x="0" y="1098000"/>
            <a:ext cx="12192000" cy="5760000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25C6C1B-557A-801D-8007-0F22F1AC8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</a:p>
        </p:txBody>
      </p:sp>
    </p:spTree>
    <p:extLst>
      <p:ext uri="{BB962C8B-B14F-4D97-AF65-F5344CB8AC3E}">
        <p14:creationId xmlns:p14="http://schemas.microsoft.com/office/powerpoint/2010/main" val="245965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6B976DC-872B-BD96-89EF-58094DEFC12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r="83" b="-1"/>
          <a:stretch>
            <a:fillRect/>
          </a:stretch>
        </p:blipFill>
        <p:spPr>
          <a:xfrm>
            <a:off x="2040001" y="1098000"/>
            <a:ext cx="8111998" cy="5760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AE4A2A5-6FEF-3E35-B1A8-9267B6007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</a:t>
            </a:r>
          </a:p>
        </p:txBody>
      </p:sp>
    </p:spTree>
    <p:extLst>
      <p:ext uri="{BB962C8B-B14F-4D97-AF65-F5344CB8AC3E}">
        <p14:creationId xmlns:p14="http://schemas.microsoft.com/office/powerpoint/2010/main" val="421091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362</TotalTime>
  <Words>3668</Words>
  <Application>Microsoft Office PowerPoint</Application>
  <PresentationFormat>Widescreen</PresentationFormat>
  <Paragraphs>796</Paragraphs>
  <Slides>44</Slides>
  <Notes>31</Notes>
  <HiddenSlides>9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48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icrosoft Lists </vt:lpstr>
      <vt:lpstr>Agenda</vt:lpstr>
      <vt:lpstr>Introduction</vt:lpstr>
      <vt:lpstr>Introduction</vt:lpstr>
      <vt:lpstr>Key Functionalities</vt:lpstr>
      <vt:lpstr>Dashboard</vt:lpstr>
      <vt:lpstr>Account</vt:lpstr>
      <vt:lpstr>Dashboard Entities</vt:lpstr>
      <vt:lpstr>Sample data for Dashboard</vt:lpstr>
      <vt:lpstr>List Type</vt:lpstr>
      <vt:lpstr>List Type</vt:lpstr>
      <vt:lpstr>Create List Entities</vt:lpstr>
      <vt:lpstr>Sample data for Create List</vt:lpstr>
      <vt:lpstr>List Template</vt:lpstr>
      <vt:lpstr>List Template</vt:lpstr>
      <vt:lpstr>List Template</vt:lpstr>
      <vt:lpstr>List By Template</vt:lpstr>
      <vt:lpstr>List Template Entities</vt:lpstr>
      <vt:lpstr>List</vt:lpstr>
      <vt:lpstr>List Row Detail</vt:lpstr>
      <vt:lpstr>List Entities</vt:lpstr>
      <vt:lpstr>Sample Data for List</vt:lpstr>
      <vt:lpstr>List Dynamic Column</vt:lpstr>
      <vt:lpstr>List Dynamic Column Entities</vt:lpstr>
      <vt:lpstr>View Type Setting</vt:lpstr>
      <vt:lpstr>List View Entities</vt:lpstr>
      <vt:lpstr>Sample data for List View</vt:lpstr>
      <vt:lpstr>Share Link</vt:lpstr>
      <vt:lpstr>Manage Access Entities</vt:lpstr>
      <vt:lpstr>Sample data for Manage Access</vt:lpstr>
      <vt:lpstr>Trash Item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Quân Võ Nguyễn Đình</cp:lastModifiedBy>
  <cp:revision>7</cp:revision>
  <dcterms:created xsi:type="dcterms:W3CDTF">2025-07-10T03:51:23Z</dcterms:created>
  <dcterms:modified xsi:type="dcterms:W3CDTF">2025-08-11T03:43:04Z</dcterms:modified>
</cp:coreProperties>
</file>